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7"/>
  </p:notesMasterIdLst>
  <p:handoutMasterIdLst>
    <p:handoutMasterId r:id="rId8"/>
  </p:handoutMasterIdLst>
  <p:sldIdLst>
    <p:sldId id="264" r:id="rId5"/>
    <p:sldId id="266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D03EA26-B6C1-3BC5-BE05-89C0FA40BADD}" name="Sabrina Sartori" initials="SS" userId="S::sabrinsa@uio.no::55f3c0dc-1df7-4e48-a4a1-8788f0e3b786" providerId="AD"/>
  <p188:author id="{BA47FB38-9999-F8C5-DEE1-172570F725D5}" name="Øivind Kure" initials="ØK" userId="S::oivindku@uio.no::d357d66d-4d64-49a8-8304-e663f6de848a" providerId="AD"/>
  <p188:author id="{1B8A618A-D6E0-CE39-E09C-DE2B366A5FDD}" name="Kaja Mosserud-Haavardsholm" initials="KM" userId="S::kajaem@uio.no::73941e72-4895-4094-a4d2-9201281031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8BBC"/>
    <a:srgbClr val="6DF57A"/>
    <a:srgbClr val="F40AB1"/>
    <a:srgbClr val="0A0000"/>
    <a:srgbClr val="020000"/>
    <a:srgbClr val="010000"/>
    <a:srgbClr val="CEFFDF"/>
    <a:srgbClr val="FFFFFF"/>
    <a:srgbClr val="0000FF"/>
    <a:srgbClr val="0000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F95528-5D47-4F98-8171-A0158BA87F98}" v="266" dt="2022-04-25T06:49:11.961"/>
    <p1510:client id="{21D5AA2D-1C37-46CC-A469-D8376523AA8A}" v="74" dt="2022-04-22T09:14:12.471"/>
    <p1510:client id="{499F9145-9801-8E4D-8AAF-F88C769E1E99}" v="1" dt="2022-04-21T14:15:32.943"/>
    <p1510:client id="{4A12B1B7-51CC-4B71-B61A-1488EC4831D8}" v="4" dt="2022-04-25T08:08:59.028"/>
    <p1510:client id="{55EDC284-E5C2-4572-A8BB-B05F72F17851}" v="625" dt="2022-04-21T11:49:20.139"/>
    <p1510:client id="{602E6B8D-F2F3-4D7D-A7CB-043E140F1281}" v="1654" dt="2022-04-22T12:37:39.600"/>
    <p1510:client id="{62574E31-2BF3-4418-A964-9A5135F01C53}" v="882" dt="2022-04-21T11:59:57.625"/>
    <p1510:client id="{68B03517-6FAC-4142-81D2-5FD7FCED9BFE}" v="326" dt="2022-04-25T06:40:03.041"/>
    <p1510:client id="{6974181F-99DE-47B1-86E0-592363DE8C19}" v="6" dt="2022-04-21T13:22:13.364"/>
    <p1510:client id="{6CA23812-F586-4AA8-8536-DF8195E036A0}" v="1215" dt="2022-04-22T11:18:22.184"/>
    <p1510:client id="{6E4CDE75-ACD0-4739-8F5A-5042658269C9}" v="44" dt="2022-04-21T12:00:16.776"/>
    <p1510:client id="{7BA92DF9-463A-42EC-8DFB-DA3C17B27373}" v="84" dt="2022-04-22T09:07:03.983"/>
    <p1510:client id="{9AD7AA4D-B0EC-44E4-9D3A-CA1A47F2F6FD}" v="282" dt="2022-04-21T12:53:58.958"/>
    <p1510:client id="{A278642F-C864-404C-8691-36906FC541AE}" v="10" dt="2022-04-22T15:09:23.401"/>
    <p1510:client id="{A67DD7B9-7626-4338-81BC-D71359BE7F1A}" v="1" dt="2022-04-25T07:14:59.295"/>
    <p1510:client id="{A929BAAE-26B9-9F83-1803-42F94316B931}" v="322" dt="2022-04-21T14:25:12.397"/>
    <p1510:client id="{AC4170BF-3BCB-47D0-AD21-9F7053FA831E}" v="3" dt="2022-04-25T07:57:26.389"/>
    <p1510:client id="{B460F486-467F-4899-B4CA-2F0A57F35B85}" v="62" dt="2022-04-22T09:12:31.508"/>
    <p1510:client id="{B7BE4946-878C-4500-B32E-F62273AF59D0}" v="91" dt="2022-04-21T13:16:08.720"/>
    <p1510:client id="{C5C7A674-2477-4901-B981-93B3E4E3CDF4}" v="36" dt="2022-04-25T07:40:36.845"/>
    <p1510:client id="{CBCC98CB-5409-078B-5708-F77C1CCDD4C3}" v="1" dt="2022-04-21T14:14:11.833"/>
    <p1510:client id="{CBFA48A2-5C7F-4CC7-8E08-82BCB246202E}" v="45" dt="2022-04-21T06:30:08.662"/>
    <p1510:client id="{CE89CA31-AAC1-0AF1-4D3A-F82C7CE59A4B}" v="378" dt="2022-04-21T13:35:13.649"/>
    <p1510:client id="{FA4EFBB6-6EA1-EC77-821E-8DE053905682}" v="198" dt="2022-04-21T12:01:38.448"/>
    <p1510:client id="{FD96B893-D7F3-488C-A7BD-D0310526812F}" v="338" dt="2022-04-21T13:17:58.2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4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cilie Rolstad Denby" userId="S::cecilero@uio.no::3da6dd35-3bc2-447b-90f9-84bc16b34c1f" providerId="AD" clId="Web-{4EDEDB79-DDEA-0196-42D4-299C7A9DD335}"/>
    <pc:docChg chg="addSld modSld sldOrd">
      <pc:chgData name="Cecilie Rolstad Denby" userId="S::cecilero@uio.no::3da6dd35-3bc2-447b-90f9-84bc16b34c1f" providerId="AD" clId="Web-{4EDEDB79-DDEA-0196-42D4-299C7A9DD335}" dt="2022-04-20T13:20:23.661" v="97" actId="20577"/>
      <pc:docMkLst>
        <pc:docMk/>
      </pc:docMkLst>
      <pc:sldChg chg="addSp delSp modSp">
        <pc:chgData name="Cecilie Rolstad Denby" userId="S::cecilero@uio.no::3da6dd35-3bc2-447b-90f9-84bc16b34c1f" providerId="AD" clId="Web-{4EDEDB79-DDEA-0196-42D4-299C7A9DD335}" dt="2022-04-20T13:15:05.892" v="46" actId="20577"/>
        <pc:sldMkLst>
          <pc:docMk/>
          <pc:sldMk cId="2682814648" sldId="271"/>
        </pc:sldMkLst>
        <pc:spChg chg="mod">
          <ac:chgData name="Cecilie Rolstad Denby" userId="S::cecilero@uio.no::3da6dd35-3bc2-447b-90f9-84bc16b34c1f" providerId="AD" clId="Web-{4EDEDB79-DDEA-0196-42D4-299C7A9DD335}" dt="2022-04-20T13:15:05.892" v="46" actId="20577"/>
          <ac:spMkLst>
            <pc:docMk/>
            <pc:sldMk cId="2682814648" sldId="271"/>
            <ac:spMk id="2" creationId="{00000000-0000-0000-0000-000000000000}"/>
          </ac:spMkLst>
        </pc:spChg>
        <pc:spChg chg="del">
          <ac:chgData name="Cecilie Rolstad Denby" userId="S::cecilero@uio.no::3da6dd35-3bc2-447b-90f9-84bc16b34c1f" providerId="AD" clId="Web-{4EDEDB79-DDEA-0196-42D4-299C7A9DD335}" dt="2022-04-20T13:11:06.424" v="11"/>
          <ac:spMkLst>
            <pc:docMk/>
            <pc:sldMk cId="2682814648" sldId="271"/>
            <ac:spMk id="5" creationId="{00000000-0000-0000-0000-000000000000}"/>
          </ac:spMkLst>
        </pc:spChg>
        <pc:spChg chg="add mod">
          <ac:chgData name="Cecilie Rolstad Denby" userId="S::cecilero@uio.no::3da6dd35-3bc2-447b-90f9-84bc16b34c1f" providerId="AD" clId="Web-{4EDEDB79-DDEA-0196-42D4-299C7A9DD335}" dt="2022-04-20T13:13:07.463" v="36" actId="1076"/>
          <ac:spMkLst>
            <pc:docMk/>
            <pc:sldMk cId="2682814648" sldId="271"/>
            <ac:spMk id="10" creationId="{545A0E95-3EC5-F9F6-2F47-1388F2A6F607}"/>
          </ac:spMkLst>
        </pc:spChg>
        <pc:picChg chg="mod">
          <ac:chgData name="Cecilie Rolstad Denby" userId="S::cecilero@uio.no::3da6dd35-3bc2-447b-90f9-84bc16b34c1f" providerId="AD" clId="Web-{4EDEDB79-DDEA-0196-42D4-299C7A9DD335}" dt="2022-04-20T13:10:20.578" v="7" actId="1076"/>
          <ac:picMkLst>
            <pc:docMk/>
            <pc:sldMk cId="2682814648" sldId="271"/>
            <ac:picMk id="6" creationId="{780AF414-0211-6510-2007-32D6A22DE375}"/>
          </ac:picMkLst>
        </pc:picChg>
        <pc:picChg chg="mod">
          <ac:chgData name="Cecilie Rolstad Denby" userId="S::cecilero@uio.no::3da6dd35-3bc2-447b-90f9-84bc16b34c1f" providerId="AD" clId="Web-{4EDEDB79-DDEA-0196-42D4-299C7A9DD335}" dt="2022-04-20T13:10:17.531" v="6" actId="1076"/>
          <ac:picMkLst>
            <pc:docMk/>
            <pc:sldMk cId="2682814648" sldId="271"/>
            <ac:picMk id="7" creationId="{BBB1D631-C484-33D1-7277-FC2F8058F39F}"/>
          </ac:picMkLst>
        </pc:picChg>
      </pc:sldChg>
      <pc:sldChg chg="modSp">
        <pc:chgData name="Cecilie Rolstad Denby" userId="S::cecilero@uio.no::3da6dd35-3bc2-447b-90f9-84bc16b34c1f" providerId="AD" clId="Web-{4EDEDB79-DDEA-0196-42D4-299C7A9DD335}" dt="2022-04-20T13:16:11.489" v="52" actId="20577"/>
        <pc:sldMkLst>
          <pc:docMk/>
          <pc:sldMk cId="3313112591" sldId="273"/>
        </pc:sldMkLst>
        <pc:spChg chg="mod">
          <ac:chgData name="Cecilie Rolstad Denby" userId="S::cecilero@uio.no::3da6dd35-3bc2-447b-90f9-84bc16b34c1f" providerId="AD" clId="Web-{4EDEDB79-DDEA-0196-42D4-299C7A9DD335}" dt="2022-04-20T13:16:11.489" v="52" actId="20577"/>
          <ac:spMkLst>
            <pc:docMk/>
            <pc:sldMk cId="3313112591" sldId="273"/>
            <ac:spMk id="2" creationId="{8A7FEA03-6824-B7A3-EE98-573F4DE706D3}"/>
          </ac:spMkLst>
        </pc:spChg>
      </pc:sldChg>
      <pc:sldChg chg="modSp">
        <pc:chgData name="Cecilie Rolstad Denby" userId="S::cecilero@uio.no::3da6dd35-3bc2-447b-90f9-84bc16b34c1f" providerId="AD" clId="Web-{4EDEDB79-DDEA-0196-42D4-299C7A9DD335}" dt="2022-04-20T13:17:58.152" v="74" actId="1076"/>
        <pc:sldMkLst>
          <pc:docMk/>
          <pc:sldMk cId="2059721839" sldId="274"/>
        </pc:sldMkLst>
        <pc:spChg chg="mod">
          <ac:chgData name="Cecilie Rolstad Denby" userId="S::cecilero@uio.no::3da6dd35-3bc2-447b-90f9-84bc16b34c1f" providerId="AD" clId="Web-{4EDEDB79-DDEA-0196-42D4-299C7A9DD335}" dt="2022-04-20T13:17:58.152" v="74" actId="1076"/>
          <ac:spMkLst>
            <pc:docMk/>
            <pc:sldMk cId="2059721839" sldId="274"/>
            <ac:spMk id="2" creationId="{E2674316-55F7-EEE8-15D6-70D335F483D5}"/>
          </ac:spMkLst>
        </pc:spChg>
        <pc:spChg chg="mod">
          <ac:chgData name="Cecilie Rolstad Denby" userId="S::cecilero@uio.no::3da6dd35-3bc2-447b-90f9-84bc16b34c1f" providerId="AD" clId="Web-{4EDEDB79-DDEA-0196-42D4-299C7A9DD335}" dt="2022-04-20T13:17:50.855" v="73" actId="1076"/>
          <ac:spMkLst>
            <pc:docMk/>
            <pc:sldMk cId="2059721839" sldId="274"/>
            <ac:spMk id="5" creationId="{67C71547-B77E-B35D-57A3-37EC1BEBF56E}"/>
          </ac:spMkLst>
        </pc:spChg>
        <pc:spChg chg="mod">
          <ac:chgData name="Cecilie Rolstad Denby" userId="S::cecilero@uio.no::3da6dd35-3bc2-447b-90f9-84bc16b34c1f" providerId="AD" clId="Web-{4EDEDB79-DDEA-0196-42D4-299C7A9DD335}" dt="2022-04-20T13:17:03.524" v="61" actId="1076"/>
          <ac:spMkLst>
            <pc:docMk/>
            <pc:sldMk cId="2059721839" sldId="274"/>
            <ac:spMk id="7" creationId="{71A301EF-381F-D6EE-5D01-FAE6AF54BAF8}"/>
          </ac:spMkLst>
        </pc:spChg>
      </pc:sldChg>
      <pc:sldChg chg="addSp delSp modSp new ord">
        <pc:chgData name="Cecilie Rolstad Denby" userId="S::cecilero@uio.no::3da6dd35-3bc2-447b-90f9-84bc16b34c1f" providerId="AD" clId="Web-{4EDEDB79-DDEA-0196-42D4-299C7A9DD335}" dt="2022-04-20T13:11:29.926" v="14"/>
        <pc:sldMkLst>
          <pc:docMk/>
          <pc:sldMk cId="2501104728" sldId="279"/>
        </pc:sldMkLst>
        <pc:spChg chg="del">
          <ac:chgData name="Cecilie Rolstad Denby" userId="S::cecilero@uio.no::3da6dd35-3bc2-447b-90f9-84bc16b34c1f" providerId="AD" clId="Web-{4EDEDB79-DDEA-0196-42D4-299C7A9DD335}" dt="2022-04-20T13:11:21.863" v="13"/>
          <ac:spMkLst>
            <pc:docMk/>
            <pc:sldMk cId="2501104728" sldId="279"/>
            <ac:spMk id="2" creationId="{F8A45EDA-FEE9-7836-0D19-E519EB727E54}"/>
          </ac:spMkLst>
        </pc:spChg>
        <pc:spChg chg="del">
          <ac:chgData name="Cecilie Rolstad Denby" userId="S::cecilero@uio.no::3da6dd35-3bc2-447b-90f9-84bc16b34c1f" providerId="AD" clId="Web-{4EDEDB79-DDEA-0196-42D4-299C7A9DD335}" dt="2022-04-20T13:11:29.926" v="14"/>
          <ac:spMkLst>
            <pc:docMk/>
            <pc:sldMk cId="2501104728" sldId="279"/>
            <ac:spMk id="5" creationId="{BE4357D9-6D5B-E774-FB91-E08C823E313A}"/>
          </ac:spMkLst>
        </pc:spChg>
        <pc:spChg chg="add mod">
          <ac:chgData name="Cecilie Rolstad Denby" userId="S::cecilero@uio.no::3da6dd35-3bc2-447b-90f9-84bc16b34c1f" providerId="AD" clId="Web-{4EDEDB79-DDEA-0196-42D4-299C7A9DD335}" dt="2022-04-20T13:11:18.503" v="12" actId="1076"/>
          <ac:spMkLst>
            <pc:docMk/>
            <pc:sldMk cId="2501104728" sldId="279"/>
            <ac:spMk id="7" creationId="{7D527AD3-F67E-4865-64D6-AF99F123AE20}"/>
          </ac:spMkLst>
        </pc:spChg>
      </pc:sldChg>
      <pc:sldChg chg="modSp new">
        <pc:chgData name="Cecilie Rolstad Denby" userId="S::cecilero@uio.no::3da6dd35-3bc2-447b-90f9-84bc16b34c1f" providerId="AD" clId="Web-{4EDEDB79-DDEA-0196-42D4-299C7A9DD335}" dt="2022-04-20T13:20:23.661" v="97" actId="20577"/>
        <pc:sldMkLst>
          <pc:docMk/>
          <pc:sldMk cId="1558038807" sldId="280"/>
        </pc:sldMkLst>
        <pc:spChg chg="mod">
          <ac:chgData name="Cecilie Rolstad Denby" userId="S::cecilero@uio.no::3da6dd35-3bc2-447b-90f9-84bc16b34c1f" providerId="AD" clId="Web-{4EDEDB79-DDEA-0196-42D4-299C7A9DD335}" dt="2022-04-20T13:20:23.661" v="97" actId="20577"/>
          <ac:spMkLst>
            <pc:docMk/>
            <pc:sldMk cId="1558038807" sldId="280"/>
            <ac:spMk id="5" creationId="{CC72B59A-D257-CB4B-E8E8-C4AB72D654AB}"/>
          </ac:spMkLst>
        </pc:spChg>
      </pc:sldChg>
    </pc:docChg>
  </pc:docChgLst>
  <pc:docChgLst>
    <pc:chgData name="Cecilie Rolstad Denby" userId="S::cecilero@uio.no::3da6dd35-3bc2-447b-90f9-84bc16b34c1f" providerId="AD" clId="Web-{CE89CA31-AAC1-0AF1-4D3A-F82C7CE59A4B}"/>
    <pc:docChg chg="addSld modSld">
      <pc:chgData name="Cecilie Rolstad Denby" userId="S::cecilero@uio.no::3da6dd35-3bc2-447b-90f9-84bc16b34c1f" providerId="AD" clId="Web-{CE89CA31-AAC1-0AF1-4D3A-F82C7CE59A4B}" dt="2022-04-21T13:35:13.649" v="230" actId="20577"/>
      <pc:docMkLst>
        <pc:docMk/>
      </pc:docMkLst>
      <pc:sldChg chg="addSp modSp">
        <pc:chgData name="Cecilie Rolstad Denby" userId="S::cecilero@uio.no::3da6dd35-3bc2-447b-90f9-84bc16b34c1f" providerId="AD" clId="Web-{CE89CA31-AAC1-0AF1-4D3A-F82C7CE59A4B}" dt="2022-04-21T13:35:13.649" v="230" actId="20577"/>
        <pc:sldMkLst>
          <pc:docMk/>
          <pc:sldMk cId="613732537" sldId="283"/>
        </pc:sldMkLst>
        <pc:spChg chg="add">
          <ac:chgData name="Cecilie Rolstad Denby" userId="S::cecilero@uio.no::3da6dd35-3bc2-447b-90f9-84bc16b34c1f" providerId="AD" clId="Web-{CE89CA31-AAC1-0AF1-4D3A-F82C7CE59A4B}" dt="2022-04-21T13:35:06.680" v="229"/>
          <ac:spMkLst>
            <pc:docMk/>
            <pc:sldMk cId="613732537" sldId="283"/>
            <ac:spMk id="2" creationId="{1A7A4A5E-20E5-DB81-69CB-2311F1D0A496}"/>
          </ac:spMkLst>
        </pc:spChg>
        <pc:spChg chg="mod">
          <ac:chgData name="Cecilie Rolstad Denby" userId="S::cecilero@uio.no::3da6dd35-3bc2-447b-90f9-84bc16b34c1f" providerId="AD" clId="Web-{CE89CA31-AAC1-0AF1-4D3A-F82C7CE59A4B}" dt="2022-04-21T13:35:13.649" v="230" actId="20577"/>
          <ac:spMkLst>
            <pc:docMk/>
            <pc:sldMk cId="613732537" sldId="283"/>
            <ac:spMk id="7" creationId="{8E2D3D1F-D6AD-6483-5E98-04871932893A}"/>
          </ac:spMkLst>
        </pc:spChg>
      </pc:sldChg>
      <pc:sldChg chg="addSp delSp modSp new">
        <pc:chgData name="Cecilie Rolstad Denby" userId="S::cecilero@uio.no::3da6dd35-3bc2-447b-90f9-84bc16b34c1f" providerId="AD" clId="Web-{CE89CA31-AAC1-0AF1-4D3A-F82C7CE59A4B}" dt="2022-04-21T13:26:55.059" v="59" actId="20577"/>
        <pc:sldMkLst>
          <pc:docMk/>
          <pc:sldMk cId="572367675" sldId="285"/>
        </pc:sldMkLst>
        <pc:spChg chg="del">
          <ac:chgData name="Cecilie Rolstad Denby" userId="S::cecilero@uio.no::3da6dd35-3bc2-447b-90f9-84bc16b34c1f" providerId="AD" clId="Web-{CE89CA31-AAC1-0AF1-4D3A-F82C7CE59A4B}" dt="2022-04-21T13:25:21.354" v="29"/>
          <ac:spMkLst>
            <pc:docMk/>
            <pc:sldMk cId="572367675" sldId="285"/>
            <ac:spMk id="2" creationId="{43053962-4871-DBC2-B660-02AE33ED52CC}"/>
          </ac:spMkLst>
        </pc:spChg>
        <pc:spChg chg="del">
          <ac:chgData name="Cecilie Rolstad Denby" userId="S::cecilero@uio.no::3da6dd35-3bc2-447b-90f9-84bc16b34c1f" providerId="AD" clId="Web-{CE89CA31-AAC1-0AF1-4D3A-F82C7CE59A4B}" dt="2022-04-21T13:25:40.136" v="31"/>
          <ac:spMkLst>
            <pc:docMk/>
            <pc:sldMk cId="572367675" sldId="285"/>
            <ac:spMk id="3" creationId="{1009E4F0-65D3-521C-C50F-A9894EC827A1}"/>
          </ac:spMkLst>
        </pc:spChg>
        <pc:spChg chg="del">
          <ac:chgData name="Cecilie Rolstad Denby" userId="S::cecilero@uio.no::3da6dd35-3bc2-447b-90f9-84bc16b34c1f" providerId="AD" clId="Web-{CE89CA31-AAC1-0AF1-4D3A-F82C7CE59A4B}" dt="2022-04-21T13:25:37.089" v="30"/>
          <ac:spMkLst>
            <pc:docMk/>
            <pc:sldMk cId="572367675" sldId="285"/>
            <ac:spMk id="4" creationId="{74CEF11A-6B2E-5E71-8598-1EC66F0F5A9A}"/>
          </ac:spMkLst>
        </pc:spChg>
        <pc:spChg chg="mod">
          <ac:chgData name="Cecilie Rolstad Denby" userId="S::cecilero@uio.no::3da6dd35-3bc2-447b-90f9-84bc16b34c1f" providerId="AD" clId="Web-{CE89CA31-AAC1-0AF1-4D3A-F82C7CE59A4B}" dt="2022-04-21T13:26:55.059" v="59" actId="20577"/>
          <ac:spMkLst>
            <pc:docMk/>
            <pc:sldMk cId="572367675" sldId="285"/>
            <ac:spMk id="7" creationId="{EDE2F219-2052-3415-D8E4-D5310A121CB9}"/>
          </ac:spMkLst>
        </pc:spChg>
        <pc:spChg chg="del">
          <ac:chgData name="Cecilie Rolstad Denby" userId="S::cecilero@uio.no::3da6dd35-3bc2-447b-90f9-84bc16b34c1f" providerId="AD" clId="Web-{CE89CA31-AAC1-0AF1-4D3A-F82C7CE59A4B}" dt="2022-04-21T13:25:43.667" v="32"/>
          <ac:spMkLst>
            <pc:docMk/>
            <pc:sldMk cId="572367675" sldId="285"/>
            <ac:spMk id="8" creationId="{E747D51F-32D5-9588-BABD-D84B30DA0F51}"/>
          </ac:spMkLst>
        </pc:spChg>
        <pc:picChg chg="add mod ord">
          <ac:chgData name="Cecilie Rolstad Denby" userId="S::cecilero@uio.no::3da6dd35-3bc2-447b-90f9-84bc16b34c1f" providerId="AD" clId="Web-{CE89CA31-AAC1-0AF1-4D3A-F82C7CE59A4B}" dt="2022-04-21T13:26:52.169" v="58" actId="1076"/>
          <ac:picMkLst>
            <pc:docMk/>
            <pc:sldMk cId="572367675" sldId="285"/>
            <ac:picMk id="9" creationId="{7D251FEC-1897-2308-1A75-5C30CCA934FD}"/>
          </ac:picMkLst>
        </pc:picChg>
      </pc:sldChg>
      <pc:sldChg chg="addSp delSp modSp new">
        <pc:chgData name="Cecilie Rolstad Denby" userId="S::cecilero@uio.no::3da6dd35-3bc2-447b-90f9-84bc16b34c1f" providerId="AD" clId="Web-{CE89CA31-AAC1-0AF1-4D3A-F82C7CE59A4B}" dt="2022-04-21T13:32:49.583" v="205" actId="20577"/>
        <pc:sldMkLst>
          <pc:docMk/>
          <pc:sldMk cId="1684454417" sldId="286"/>
        </pc:sldMkLst>
        <pc:spChg chg="del">
          <ac:chgData name="Cecilie Rolstad Denby" userId="S::cecilero@uio.no::3da6dd35-3bc2-447b-90f9-84bc16b34c1f" providerId="AD" clId="Web-{CE89CA31-AAC1-0AF1-4D3A-F82C7CE59A4B}" dt="2022-04-21T13:28:22.655" v="60"/>
          <ac:spMkLst>
            <pc:docMk/>
            <pc:sldMk cId="1684454417" sldId="286"/>
            <ac:spMk id="2" creationId="{9CC25DA6-9E67-5216-818A-2F747DC86CF6}"/>
          </ac:spMkLst>
        </pc:spChg>
        <pc:spChg chg="mod">
          <ac:chgData name="Cecilie Rolstad Denby" userId="S::cecilero@uio.no::3da6dd35-3bc2-447b-90f9-84bc16b34c1f" providerId="AD" clId="Web-{CE89CA31-AAC1-0AF1-4D3A-F82C7CE59A4B}" dt="2022-04-21T13:25:17.963" v="28" actId="20577"/>
          <ac:spMkLst>
            <pc:docMk/>
            <pc:sldMk cId="1684454417" sldId="286"/>
            <ac:spMk id="5" creationId="{E1B1B191-A2DC-1646-9C50-F9C9410476FE}"/>
          </ac:spMkLst>
        </pc:spChg>
        <pc:spChg chg="add">
          <ac:chgData name="Cecilie Rolstad Denby" userId="S::cecilero@uio.no::3da6dd35-3bc2-447b-90f9-84bc16b34c1f" providerId="AD" clId="Web-{CE89CA31-AAC1-0AF1-4D3A-F82C7CE59A4B}" dt="2022-04-21T13:28:45.437" v="62"/>
          <ac:spMkLst>
            <pc:docMk/>
            <pc:sldMk cId="1684454417" sldId="286"/>
            <ac:spMk id="7" creationId="{ECA7CF7A-65D5-B1A8-AF48-F75741CEC5BC}"/>
          </ac:spMkLst>
        </pc:spChg>
        <pc:spChg chg="add del">
          <ac:chgData name="Cecilie Rolstad Denby" userId="S::cecilero@uio.no::3da6dd35-3bc2-447b-90f9-84bc16b34c1f" providerId="AD" clId="Web-{CE89CA31-AAC1-0AF1-4D3A-F82C7CE59A4B}" dt="2022-04-21T13:31:56.675" v="200"/>
          <ac:spMkLst>
            <pc:docMk/>
            <pc:sldMk cId="1684454417" sldId="286"/>
            <ac:spMk id="8" creationId="{94D988E9-4B65-D62B-EC83-EBF703AA3203}"/>
          </ac:spMkLst>
        </pc:spChg>
        <pc:spChg chg="add mod">
          <ac:chgData name="Cecilie Rolstad Denby" userId="S::cecilero@uio.no::3da6dd35-3bc2-447b-90f9-84bc16b34c1f" providerId="AD" clId="Web-{CE89CA31-AAC1-0AF1-4D3A-F82C7CE59A4B}" dt="2022-04-21T13:32:49.583" v="205" actId="20577"/>
          <ac:spMkLst>
            <pc:docMk/>
            <pc:sldMk cId="1684454417" sldId="286"/>
            <ac:spMk id="9" creationId="{6C5E1F4F-4175-405D-AC2E-3DE863F74789}"/>
          </ac:spMkLst>
        </pc:spChg>
        <pc:picChg chg="add mod ord">
          <ac:chgData name="Cecilie Rolstad Denby" userId="S::cecilero@uio.no::3da6dd35-3bc2-447b-90f9-84bc16b34c1f" providerId="AD" clId="Web-{CE89CA31-AAC1-0AF1-4D3A-F82C7CE59A4B}" dt="2022-04-21T13:28:30.827" v="61" actId="1076"/>
          <ac:picMkLst>
            <pc:docMk/>
            <pc:sldMk cId="1684454417" sldId="286"/>
            <ac:picMk id="6" creationId="{64DF5D4D-A84D-2338-82C8-54E6460A0F58}"/>
          </ac:picMkLst>
        </pc:picChg>
      </pc:sldChg>
    </pc:docChg>
  </pc:docChgLst>
  <pc:docChgLst>
    <pc:chgData name="Kaja Mosserud-Haavardsholm" userId="S::kajaem@uio.no::73941e72-4895-4094-a4d2-92012810311f" providerId="AD" clId="Web-{6E4CDE75-ACD0-4739-8F5A-5042658269C9}"/>
    <pc:docChg chg="modSld">
      <pc:chgData name="Kaja Mosserud-Haavardsholm" userId="S::kajaem@uio.no::73941e72-4895-4094-a4d2-92012810311f" providerId="AD" clId="Web-{6E4CDE75-ACD0-4739-8F5A-5042658269C9}" dt="2022-04-21T12:00:15.745" v="42" actId="20577"/>
      <pc:docMkLst>
        <pc:docMk/>
      </pc:docMkLst>
      <pc:sldChg chg="modSp">
        <pc:chgData name="Kaja Mosserud-Haavardsholm" userId="S::kajaem@uio.no::73941e72-4895-4094-a4d2-92012810311f" providerId="AD" clId="Web-{6E4CDE75-ACD0-4739-8F5A-5042658269C9}" dt="2022-04-21T12:00:15.745" v="42" actId="20577"/>
        <pc:sldMkLst>
          <pc:docMk/>
          <pc:sldMk cId="925823882" sldId="275"/>
        </pc:sldMkLst>
        <pc:spChg chg="mod">
          <ac:chgData name="Kaja Mosserud-Haavardsholm" userId="S::kajaem@uio.no::73941e72-4895-4094-a4d2-92012810311f" providerId="AD" clId="Web-{6E4CDE75-ACD0-4739-8F5A-5042658269C9}" dt="2022-04-21T12:00:15.745" v="42" actId="20577"/>
          <ac:spMkLst>
            <pc:docMk/>
            <pc:sldMk cId="925823882" sldId="275"/>
            <ac:spMk id="7" creationId="{12B20456-A43B-433F-29CF-FBA5E5AF0E87}"/>
          </ac:spMkLst>
        </pc:spChg>
      </pc:sldChg>
    </pc:docChg>
  </pc:docChgLst>
  <pc:docChgLst>
    <pc:chgData name="Øivind Kure" userId="S::oivindku@uio.no::d357d66d-4d64-49a8-8304-e663f6de848a" providerId="AD" clId="Web-{A278642F-C864-404C-8691-36906FC541AE}"/>
    <pc:docChg chg="modSld">
      <pc:chgData name="Øivind Kure" userId="S::oivindku@uio.no::d357d66d-4d64-49a8-8304-e663f6de848a" providerId="AD" clId="Web-{A278642F-C864-404C-8691-36906FC541AE}" dt="2022-04-22T15:09:23.401" v="9" actId="20577"/>
      <pc:docMkLst>
        <pc:docMk/>
      </pc:docMkLst>
      <pc:sldChg chg="modSp">
        <pc:chgData name="Øivind Kure" userId="S::oivindku@uio.no::d357d66d-4d64-49a8-8304-e663f6de848a" providerId="AD" clId="Web-{A278642F-C864-404C-8691-36906FC541AE}" dt="2022-04-22T15:09:23.401" v="9" actId="20577"/>
        <pc:sldMkLst>
          <pc:docMk/>
          <pc:sldMk cId="3519689284" sldId="291"/>
        </pc:sldMkLst>
        <pc:spChg chg="mod">
          <ac:chgData name="Øivind Kure" userId="S::oivindku@uio.no::d357d66d-4d64-49a8-8304-e663f6de848a" providerId="AD" clId="Web-{A278642F-C864-404C-8691-36906FC541AE}" dt="2022-04-22T15:09:23.401" v="9" actId="20577"/>
          <ac:spMkLst>
            <pc:docMk/>
            <pc:sldMk cId="3519689284" sldId="291"/>
            <ac:spMk id="4" creationId="{656EDA8A-D001-1832-CF63-DBE6AD4CF926}"/>
          </ac:spMkLst>
        </pc:spChg>
      </pc:sldChg>
    </pc:docChg>
  </pc:docChgLst>
  <pc:docChgLst>
    <pc:chgData name="Kaja Mosserud-Haavardsholm" userId="S::kajaem@uio.no::73941e72-4895-4094-a4d2-92012810311f" providerId="AD" clId="Web-{B460F486-467F-4899-B4CA-2F0A57F35B85}"/>
    <pc:docChg chg="modSld">
      <pc:chgData name="Kaja Mosserud-Haavardsholm" userId="S::kajaem@uio.no::73941e72-4895-4094-a4d2-92012810311f" providerId="AD" clId="Web-{B460F486-467F-4899-B4CA-2F0A57F35B85}" dt="2022-04-22T09:12:31.508" v="56"/>
      <pc:docMkLst>
        <pc:docMk/>
      </pc:docMkLst>
      <pc:sldChg chg="addSp delSp modSp">
        <pc:chgData name="Kaja Mosserud-Haavardsholm" userId="S::kajaem@uio.no::73941e72-4895-4094-a4d2-92012810311f" providerId="AD" clId="Web-{B460F486-467F-4899-B4CA-2F0A57F35B85}" dt="2022-04-22T09:12:31.508" v="56"/>
        <pc:sldMkLst>
          <pc:docMk/>
          <pc:sldMk cId="3854075043" sldId="267"/>
        </pc:sldMkLst>
        <pc:spChg chg="mod">
          <ac:chgData name="Kaja Mosserud-Haavardsholm" userId="S::kajaem@uio.no::73941e72-4895-4094-a4d2-92012810311f" providerId="AD" clId="Web-{B460F486-467F-4899-B4CA-2F0A57F35B85}" dt="2022-04-22T09:11:08.284" v="49" actId="20577"/>
          <ac:spMkLst>
            <pc:docMk/>
            <pc:sldMk cId="3854075043" sldId="267"/>
            <ac:spMk id="2" creationId="{00000000-0000-0000-0000-000000000000}"/>
          </ac:spMkLst>
        </pc:spChg>
        <pc:spChg chg="add del mod">
          <ac:chgData name="Kaja Mosserud-Haavardsholm" userId="S::kajaem@uio.no::73941e72-4895-4094-a4d2-92012810311f" providerId="AD" clId="Web-{B460F486-467F-4899-B4CA-2F0A57F35B85}" dt="2022-04-22T09:12:31.508" v="56"/>
          <ac:spMkLst>
            <pc:docMk/>
            <pc:sldMk cId="3854075043" sldId="267"/>
            <ac:spMk id="8" creationId="{B004D132-014C-CECE-45F4-CD0461159FEB}"/>
          </ac:spMkLst>
        </pc:spChg>
        <pc:spChg chg="add del mod">
          <ac:chgData name="Kaja Mosserud-Haavardsholm" userId="S::kajaem@uio.no::73941e72-4895-4094-a4d2-92012810311f" providerId="AD" clId="Web-{B460F486-467F-4899-B4CA-2F0A57F35B85}" dt="2022-04-22T09:12:31.508" v="56"/>
          <ac:spMkLst>
            <pc:docMk/>
            <pc:sldMk cId="3854075043" sldId="267"/>
            <ac:spMk id="12" creationId="{E6F596BE-ABEC-58B0-E476-361DC92D464D}"/>
          </ac:spMkLst>
        </pc:spChg>
        <pc:spChg chg="del">
          <ac:chgData name="Kaja Mosserud-Haavardsholm" userId="S::kajaem@uio.no::73941e72-4895-4094-a4d2-92012810311f" providerId="AD" clId="Web-{B460F486-467F-4899-B4CA-2F0A57F35B85}" dt="2022-04-22T09:08:42.009" v="0"/>
          <ac:spMkLst>
            <pc:docMk/>
            <pc:sldMk cId="3854075043" sldId="267"/>
            <ac:spMk id="14" creationId="{D39D4E81-46C1-1738-C906-CDB9B01A87EF}"/>
          </ac:spMkLst>
        </pc:spChg>
      </pc:sldChg>
      <pc:sldChg chg="modSp delCm">
        <pc:chgData name="Kaja Mosserud-Haavardsholm" userId="S::kajaem@uio.no::73941e72-4895-4094-a4d2-92012810311f" providerId="AD" clId="Web-{B460F486-467F-4899-B4CA-2F0A57F35B85}" dt="2022-04-22T09:10:20.828" v="46" actId="20577"/>
        <pc:sldMkLst>
          <pc:docMk/>
          <pc:sldMk cId="60188408" sldId="281"/>
        </pc:sldMkLst>
        <pc:spChg chg="mod">
          <ac:chgData name="Kaja Mosserud-Haavardsholm" userId="S::kajaem@uio.no::73941e72-4895-4094-a4d2-92012810311f" providerId="AD" clId="Web-{B460F486-467F-4899-B4CA-2F0A57F35B85}" dt="2022-04-22T09:09:36.325" v="44" actId="1076"/>
          <ac:spMkLst>
            <pc:docMk/>
            <pc:sldMk cId="60188408" sldId="281"/>
            <ac:spMk id="3" creationId="{0C2E9928-140B-0F5D-0351-AEAB7365CBA2}"/>
          </ac:spMkLst>
        </pc:spChg>
        <pc:spChg chg="mod">
          <ac:chgData name="Kaja Mosserud-Haavardsholm" userId="S::kajaem@uio.no::73941e72-4895-4094-a4d2-92012810311f" providerId="AD" clId="Web-{B460F486-467F-4899-B4CA-2F0A57F35B85}" dt="2022-04-22T09:10:20.828" v="46" actId="20577"/>
          <ac:spMkLst>
            <pc:docMk/>
            <pc:sldMk cId="60188408" sldId="281"/>
            <ac:spMk id="7" creationId="{622CACCB-4611-9AB8-F6DC-90F7BD7DAC02}"/>
          </ac:spMkLst>
        </pc:spChg>
        <pc:spChg chg="mod">
          <ac:chgData name="Kaja Mosserud-Haavardsholm" userId="S::kajaem@uio.no::73941e72-4895-4094-a4d2-92012810311f" providerId="AD" clId="Web-{B460F486-467F-4899-B4CA-2F0A57F35B85}" dt="2022-04-22T09:09:28.715" v="41" actId="1076"/>
          <ac:spMkLst>
            <pc:docMk/>
            <pc:sldMk cId="60188408" sldId="281"/>
            <ac:spMk id="8" creationId="{A2186A5B-2C19-97F8-051E-B4789493A8DD}"/>
          </ac:spMkLst>
        </pc:spChg>
        <pc:graphicFrameChg chg="mod">
          <ac:chgData name="Kaja Mosserud-Haavardsholm" userId="S::kajaem@uio.no::73941e72-4895-4094-a4d2-92012810311f" providerId="AD" clId="Web-{B460F486-467F-4899-B4CA-2F0A57F35B85}" dt="2022-04-22T09:09:22.871" v="39" actId="1076"/>
          <ac:graphicFrameMkLst>
            <pc:docMk/>
            <pc:sldMk cId="60188408" sldId="281"/>
            <ac:graphicFrameMk id="9" creationId="{F65B385E-9A77-9509-21A1-E88C0A3530EA}"/>
          </ac:graphicFrameMkLst>
        </pc:graphicFrameChg>
        <pc:graphicFrameChg chg="mod">
          <ac:chgData name="Kaja Mosserud-Haavardsholm" userId="S::kajaem@uio.no::73941e72-4895-4094-a4d2-92012810311f" providerId="AD" clId="Web-{B460F486-467F-4899-B4CA-2F0A57F35B85}" dt="2022-04-22T09:09:25.528" v="40" actId="1076"/>
          <ac:graphicFrameMkLst>
            <pc:docMk/>
            <pc:sldMk cId="60188408" sldId="281"/>
            <ac:graphicFrameMk id="10" creationId="{3CAED7B8-B119-CE12-3776-17186FFE8D4F}"/>
          </ac:graphicFrameMkLst>
        </pc:graphicFrameChg>
      </pc:sldChg>
    </pc:docChg>
  </pc:docChgLst>
  <pc:docChgLst>
    <pc:chgData name="Øivind Kure" userId="S::oivindku@uio.no::d357d66d-4d64-49a8-8304-e663f6de848a" providerId="AD" clId="Web-{EF3E27A4-312C-6AB3-F159-7E40D295E949}"/>
    <pc:docChg chg="modSld">
      <pc:chgData name="Øivind Kure" userId="S::oivindku@uio.no::d357d66d-4d64-49a8-8304-e663f6de848a" providerId="AD" clId="Web-{EF3E27A4-312C-6AB3-F159-7E40D295E949}" dt="2022-04-19T09:36:16.793" v="24" actId="20577"/>
      <pc:docMkLst>
        <pc:docMk/>
      </pc:docMkLst>
      <pc:sldChg chg="modSp">
        <pc:chgData name="Øivind Kure" userId="S::oivindku@uio.no::d357d66d-4d64-49a8-8304-e663f6de848a" providerId="AD" clId="Web-{EF3E27A4-312C-6AB3-F159-7E40D295E949}" dt="2022-04-19T09:36:16.793" v="24" actId="20577"/>
        <pc:sldMkLst>
          <pc:docMk/>
          <pc:sldMk cId="3854075043" sldId="267"/>
        </pc:sldMkLst>
        <pc:spChg chg="mod">
          <ac:chgData name="Øivind Kure" userId="S::oivindku@uio.no::d357d66d-4d64-49a8-8304-e663f6de848a" providerId="AD" clId="Web-{EF3E27A4-312C-6AB3-F159-7E40D295E949}" dt="2022-04-19T09:36:16.793" v="24" actId="20577"/>
          <ac:spMkLst>
            <pc:docMk/>
            <pc:sldMk cId="3854075043" sldId="267"/>
            <ac:spMk id="2" creationId="{00000000-0000-0000-0000-000000000000}"/>
          </ac:spMkLst>
        </pc:spChg>
      </pc:sldChg>
    </pc:docChg>
  </pc:docChgLst>
  <pc:docChgLst>
    <pc:chgData name="Cecilie Rolstad Denby" userId="S::cecilero@uio.no::3da6dd35-3bc2-447b-90f9-84bc16b34c1f" providerId="AD" clId="Web-{C5C7A674-2477-4901-B981-93B3E4E3CDF4}"/>
    <pc:docChg chg="modSld">
      <pc:chgData name="Cecilie Rolstad Denby" userId="S::cecilero@uio.no::3da6dd35-3bc2-447b-90f9-84bc16b34c1f" providerId="AD" clId="Web-{C5C7A674-2477-4901-B981-93B3E4E3CDF4}" dt="2022-04-25T07:40:36.845" v="33" actId="14100"/>
      <pc:docMkLst>
        <pc:docMk/>
      </pc:docMkLst>
      <pc:sldChg chg="addSp modSp">
        <pc:chgData name="Cecilie Rolstad Denby" userId="S::cecilero@uio.no::3da6dd35-3bc2-447b-90f9-84bc16b34c1f" providerId="AD" clId="Web-{C5C7A674-2477-4901-B981-93B3E4E3CDF4}" dt="2022-04-25T07:40:36.845" v="33" actId="14100"/>
        <pc:sldMkLst>
          <pc:docMk/>
          <pc:sldMk cId="3382128355" sldId="269"/>
        </pc:sldMkLst>
        <pc:picChg chg="add mod">
          <ac:chgData name="Cecilie Rolstad Denby" userId="S::cecilero@uio.no::3da6dd35-3bc2-447b-90f9-84bc16b34c1f" providerId="AD" clId="Web-{C5C7A674-2477-4901-B981-93B3E4E3CDF4}" dt="2022-04-25T07:40:36.845" v="33" actId="14100"/>
          <ac:picMkLst>
            <pc:docMk/>
            <pc:sldMk cId="3382128355" sldId="269"/>
            <ac:picMk id="6" creationId="{D03A256F-A86A-F3E5-FC4D-F2EC0B36B856}"/>
          </ac:picMkLst>
        </pc:picChg>
      </pc:sldChg>
      <pc:sldChg chg="modSp">
        <pc:chgData name="Cecilie Rolstad Denby" userId="S::cecilero@uio.no::3da6dd35-3bc2-447b-90f9-84bc16b34c1f" providerId="AD" clId="Web-{C5C7A674-2477-4901-B981-93B3E4E3CDF4}" dt="2022-04-25T07:33:55.558" v="29" actId="20577"/>
        <pc:sldMkLst>
          <pc:docMk/>
          <pc:sldMk cId="3519689284" sldId="291"/>
        </pc:sldMkLst>
        <pc:spChg chg="mod">
          <ac:chgData name="Cecilie Rolstad Denby" userId="S::cecilero@uio.no::3da6dd35-3bc2-447b-90f9-84bc16b34c1f" providerId="AD" clId="Web-{C5C7A674-2477-4901-B981-93B3E4E3CDF4}" dt="2022-04-25T07:33:15.056" v="17" actId="1076"/>
          <ac:spMkLst>
            <pc:docMk/>
            <pc:sldMk cId="3519689284" sldId="291"/>
            <ac:spMk id="3" creationId="{B1930A2E-308B-FBAA-B991-2B0C5DF4A99B}"/>
          </ac:spMkLst>
        </pc:spChg>
        <pc:spChg chg="mod">
          <ac:chgData name="Cecilie Rolstad Denby" userId="S::cecilero@uio.no::3da6dd35-3bc2-447b-90f9-84bc16b34c1f" providerId="AD" clId="Web-{C5C7A674-2477-4901-B981-93B3E4E3CDF4}" dt="2022-04-25T07:33:55.558" v="29" actId="20577"/>
          <ac:spMkLst>
            <pc:docMk/>
            <pc:sldMk cId="3519689284" sldId="291"/>
            <ac:spMk id="4" creationId="{656EDA8A-D001-1832-CF63-DBE6AD4CF926}"/>
          </ac:spMkLst>
        </pc:spChg>
        <pc:spChg chg="mod">
          <ac:chgData name="Cecilie Rolstad Denby" userId="S::cecilero@uio.no::3da6dd35-3bc2-447b-90f9-84bc16b34c1f" providerId="AD" clId="Web-{C5C7A674-2477-4901-B981-93B3E4E3CDF4}" dt="2022-04-25T07:33:01.008" v="14" actId="1076"/>
          <ac:spMkLst>
            <pc:docMk/>
            <pc:sldMk cId="3519689284" sldId="291"/>
            <ac:spMk id="8" creationId="{ADE93BF2-75D3-472A-85C4-AE371255F6A9}"/>
          </ac:spMkLst>
        </pc:spChg>
      </pc:sldChg>
    </pc:docChg>
  </pc:docChgLst>
  <pc:docChgLst>
    <pc:chgData name="Josef Noll" userId="S::jnoll@uio.no::47bf06be-f1ff-4076-9d25-ef324fefca66" providerId="AD" clId="Web-{9AD7AA4D-B0EC-44E4-9D3A-CA1A47F2F6FD}"/>
    <pc:docChg chg="modSld">
      <pc:chgData name="Josef Noll" userId="S::jnoll@uio.no::47bf06be-f1ff-4076-9d25-ef324fefca66" providerId="AD" clId="Web-{9AD7AA4D-B0EC-44E4-9D3A-CA1A47F2F6FD}" dt="2022-04-21T12:53:58.958" v="279" actId="20577"/>
      <pc:docMkLst>
        <pc:docMk/>
      </pc:docMkLst>
      <pc:sldChg chg="modSp">
        <pc:chgData name="Josef Noll" userId="S::jnoll@uio.no::47bf06be-f1ff-4076-9d25-ef324fefca66" providerId="AD" clId="Web-{9AD7AA4D-B0EC-44E4-9D3A-CA1A47F2F6FD}" dt="2022-04-21T12:53:58.958" v="279" actId="20577"/>
        <pc:sldMkLst>
          <pc:docMk/>
          <pc:sldMk cId="1523784790" sldId="272"/>
        </pc:sldMkLst>
        <pc:spChg chg="mod">
          <ac:chgData name="Josef Noll" userId="S::jnoll@uio.no::47bf06be-f1ff-4076-9d25-ef324fefca66" providerId="AD" clId="Web-{9AD7AA4D-B0EC-44E4-9D3A-CA1A47F2F6FD}" dt="2022-04-21T12:53:58.958" v="279" actId="20577"/>
          <ac:spMkLst>
            <pc:docMk/>
            <pc:sldMk cId="1523784790" sldId="272"/>
            <ac:spMk id="2" creationId="{DDE809E3-FD24-CB23-A57A-60451D9D2FB4}"/>
          </ac:spMkLst>
        </pc:spChg>
      </pc:sldChg>
      <pc:sldChg chg="modSp">
        <pc:chgData name="Josef Noll" userId="S::jnoll@uio.no::47bf06be-f1ff-4076-9d25-ef324fefca66" providerId="AD" clId="Web-{9AD7AA4D-B0EC-44E4-9D3A-CA1A47F2F6FD}" dt="2022-04-21T12:53:41.052" v="262" actId="20577"/>
        <pc:sldMkLst>
          <pc:docMk/>
          <pc:sldMk cId="3997630168" sldId="282"/>
        </pc:sldMkLst>
        <pc:spChg chg="mod">
          <ac:chgData name="Josef Noll" userId="S::jnoll@uio.no::47bf06be-f1ff-4076-9d25-ef324fefca66" providerId="AD" clId="Web-{9AD7AA4D-B0EC-44E4-9D3A-CA1A47F2F6FD}" dt="2022-04-21T12:53:41.052" v="262" actId="20577"/>
          <ac:spMkLst>
            <pc:docMk/>
            <pc:sldMk cId="3997630168" sldId="282"/>
            <ac:spMk id="2" creationId="{DDE809E3-FD24-CB23-A57A-60451D9D2FB4}"/>
          </ac:spMkLst>
        </pc:spChg>
      </pc:sldChg>
    </pc:docChg>
  </pc:docChgLst>
  <pc:docChgLst>
    <pc:chgData name="Ida Elisabeth Rydning" userId="S::idaery@uio.no::5e9fe4f1-9c3e-41c3-85f7-20c30e6fa891" providerId="AD" clId="Web-{68B03517-6FAC-4142-81D2-5FD7FCED9BFE}"/>
    <pc:docChg chg="addSld modSld sldOrd">
      <pc:chgData name="Ida Elisabeth Rydning" userId="S::idaery@uio.no::5e9fe4f1-9c3e-41c3-85f7-20c30e6fa891" providerId="AD" clId="Web-{68B03517-6FAC-4142-81D2-5FD7FCED9BFE}" dt="2022-04-25T06:40:02.416" v="323" actId="20577"/>
      <pc:docMkLst>
        <pc:docMk/>
      </pc:docMkLst>
      <pc:sldChg chg="modSp">
        <pc:chgData name="Ida Elisabeth Rydning" userId="S::idaery@uio.no::5e9fe4f1-9c3e-41c3-85f7-20c30e6fa891" providerId="AD" clId="Web-{68B03517-6FAC-4142-81D2-5FD7FCED9BFE}" dt="2022-04-25T05:41:29.586" v="2" actId="20577"/>
        <pc:sldMkLst>
          <pc:docMk/>
          <pc:sldMk cId="1082874148" sldId="270"/>
        </pc:sldMkLst>
        <pc:spChg chg="mod">
          <ac:chgData name="Ida Elisabeth Rydning" userId="S::idaery@uio.no::5e9fe4f1-9c3e-41c3-85f7-20c30e6fa891" providerId="AD" clId="Web-{68B03517-6FAC-4142-81D2-5FD7FCED9BFE}" dt="2022-04-25T05:41:29.586" v="2" actId="20577"/>
          <ac:spMkLst>
            <pc:docMk/>
            <pc:sldMk cId="1082874148" sldId="270"/>
            <ac:spMk id="2" creationId="{00000000-0000-0000-0000-000000000000}"/>
          </ac:spMkLst>
        </pc:spChg>
      </pc:sldChg>
      <pc:sldChg chg="modSp">
        <pc:chgData name="Ida Elisabeth Rydning" userId="S::idaery@uio.no::5e9fe4f1-9c3e-41c3-85f7-20c30e6fa891" providerId="AD" clId="Web-{68B03517-6FAC-4142-81D2-5FD7FCED9BFE}" dt="2022-04-25T06:02:12.360" v="294" actId="20577"/>
        <pc:sldMkLst>
          <pc:docMk/>
          <pc:sldMk cId="1523784790" sldId="272"/>
        </pc:sldMkLst>
        <pc:spChg chg="mod">
          <ac:chgData name="Ida Elisabeth Rydning" userId="S::idaery@uio.no::5e9fe4f1-9c3e-41c3-85f7-20c30e6fa891" providerId="AD" clId="Web-{68B03517-6FAC-4142-81D2-5FD7FCED9BFE}" dt="2022-04-25T06:02:12.360" v="294" actId="20577"/>
          <ac:spMkLst>
            <pc:docMk/>
            <pc:sldMk cId="1523784790" sldId="272"/>
            <ac:spMk id="2" creationId="{DDE809E3-FD24-CB23-A57A-60451D9D2FB4}"/>
          </ac:spMkLst>
        </pc:spChg>
      </pc:sldChg>
      <pc:sldChg chg="modSp new ord">
        <pc:chgData name="Ida Elisabeth Rydning" userId="S::idaery@uio.no::5e9fe4f1-9c3e-41c3-85f7-20c30e6fa891" providerId="AD" clId="Web-{68B03517-6FAC-4142-81D2-5FD7FCED9BFE}" dt="2022-04-25T06:40:02.416" v="323" actId="20577"/>
        <pc:sldMkLst>
          <pc:docMk/>
          <pc:sldMk cId="3110523089" sldId="299"/>
        </pc:sldMkLst>
        <pc:spChg chg="mod">
          <ac:chgData name="Ida Elisabeth Rydning" userId="S::idaery@uio.no::5e9fe4f1-9c3e-41c3-85f7-20c30e6fa891" providerId="AD" clId="Web-{68B03517-6FAC-4142-81D2-5FD7FCED9BFE}" dt="2022-04-25T06:40:02.416" v="323" actId="20577"/>
          <ac:spMkLst>
            <pc:docMk/>
            <pc:sldMk cId="3110523089" sldId="299"/>
            <ac:spMk id="2" creationId="{FF6DD450-90A8-E6CB-9782-E5C9FC82E24B}"/>
          </ac:spMkLst>
        </pc:spChg>
        <pc:spChg chg="mod">
          <ac:chgData name="Ida Elisabeth Rydning" userId="S::idaery@uio.no::5e9fe4f1-9c3e-41c3-85f7-20c30e6fa891" providerId="AD" clId="Web-{68B03517-6FAC-4142-81D2-5FD7FCED9BFE}" dt="2022-04-25T05:47:23.512" v="11" actId="20577"/>
          <ac:spMkLst>
            <pc:docMk/>
            <pc:sldMk cId="3110523089" sldId="299"/>
            <ac:spMk id="5" creationId="{DA213793-FC1F-2839-EFF8-BB2413BE8B2E}"/>
          </ac:spMkLst>
        </pc:spChg>
      </pc:sldChg>
    </pc:docChg>
  </pc:docChgLst>
  <pc:docChgLst>
    <pc:chgData name="Kaja Mosserud-Haavardsholm" userId="S::kajaem@uio.no::73941e72-4895-4094-a4d2-92012810311f" providerId="AD" clId="Web-{55EDC284-E5C2-4572-A8BB-B05F72F17851}"/>
    <pc:docChg chg="mod addSld delSld modSld">
      <pc:chgData name="Kaja Mosserud-Haavardsholm" userId="S::kajaem@uio.no::73941e72-4895-4094-a4d2-92012810311f" providerId="AD" clId="Web-{55EDC284-E5C2-4572-A8BB-B05F72F17851}" dt="2022-04-21T11:49:20.139" v="551" actId="20577"/>
      <pc:docMkLst>
        <pc:docMk/>
      </pc:docMkLst>
      <pc:sldChg chg="modSp">
        <pc:chgData name="Kaja Mosserud-Haavardsholm" userId="S::kajaem@uio.no::73941e72-4895-4094-a4d2-92012810311f" providerId="AD" clId="Web-{55EDC284-E5C2-4572-A8BB-B05F72F17851}" dt="2022-04-21T11:47:18.808" v="485" actId="20577"/>
        <pc:sldMkLst>
          <pc:docMk/>
          <pc:sldMk cId="3854075043" sldId="267"/>
        </pc:sldMkLst>
        <pc:spChg chg="mod">
          <ac:chgData name="Kaja Mosserud-Haavardsholm" userId="S::kajaem@uio.no::73941e72-4895-4094-a4d2-92012810311f" providerId="AD" clId="Web-{55EDC284-E5C2-4572-A8BB-B05F72F17851}" dt="2022-04-21T11:47:18.808" v="485" actId="20577"/>
          <ac:spMkLst>
            <pc:docMk/>
            <pc:sldMk cId="3854075043" sldId="267"/>
            <ac:spMk id="2" creationId="{00000000-0000-0000-0000-000000000000}"/>
          </ac:spMkLst>
        </pc:spChg>
        <pc:spChg chg="mod">
          <ac:chgData name="Kaja Mosserud-Haavardsholm" userId="S::kajaem@uio.no::73941e72-4895-4094-a4d2-92012810311f" providerId="AD" clId="Web-{55EDC284-E5C2-4572-A8BB-B05F72F17851}" dt="2022-04-21T11:47:15.933" v="482" actId="20577"/>
          <ac:spMkLst>
            <pc:docMk/>
            <pc:sldMk cId="3854075043" sldId="267"/>
            <ac:spMk id="14" creationId="{D39D4E81-46C1-1738-C906-CDB9B01A87EF}"/>
          </ac:spMkLst>
        </pc:spChg>
      </pc:sldChg>
      <pc:sldChg chg="modSp">
        <pc:chgData name="Kaja Mosserud-Haavardsholm" userId="S::kajaem@uio.no::73941e72-4895-4094-a4d2-92012810311f" providerId="AD" clId="Web-{55EDC284-E5C2-4572-A8BB-B05F72F17851}" dt="2022-04-21T11:49:20.139" v="551" actId="20577"/>
        <pc:sldMkLst>
          <pc:docMk/>
          <pc:sldMk cId="925823882" sldId="275"/>
        </pc:sldMkLst>
        <pc:spChg chg="mod">
          <ac:chgData name="Kaja Mosserud-Haavardsholm" userId="S::kajaem@uio.no::73941e72-4895-4094-a4d2-92012810311f" providerId="AD" clId="Web-{55EDC284-E5C2-4572-A8BB-B05F72F17851}" dt="2022-04-21T11:49:20.139" v="551" actId="20577"/>
          <ac:spMkLst>
            <pc:docMk/>
            <pc:sldMk cId="925823882" sldId="275"/>
            <ac:spMk id="7" creationId="{12B20456-A43B-433F-29CF-FBA5E5AF0E87}"/>
          </ac:spMkLst>
        </pc:spChg>
      </pc:sldChg>
      <pc:sldChg chg="addSp delSp modSp new addCm">
        <pc:chgData name="Kaja Mosserud-Haavardsholm" userId="S::kajaem@uio.no::73941e72-4895-4094-a4d2-92012810311f" providerId="AD" clId="Web-{55EDC284-E5C2-4572-A8BB-B05F72F17851}" dt="2022-04-21T11:43:47.709" v="393"/>
        <pc:sldMkLst>
          <pc:docMk/>
          <pc:sldMk cId="60188408" sldId="281"/>
        </pc:sldMkLst>
        <pc:spChg chg="del">
          <ac:chgData name="Kaja Mosserud-Haavardsholm" userId="S::kajaem@uio.no::73941e72-4895-4094-a4d2-92012810311f" providerId="AD" clId="Web-{55EDC284-E5C2-4572-A8BB-B05F72F17851}" dt="2022-04-21T11:19:47.004" v="57"/>
          <ac:spMkLst>
            <pc:docMk/>
            <pc:sldMk cId="60188408" sldId="281"/>
            <ac:spMk id="2" creationId="{0ABC7928-F2B8-BA02-5C53-84312BA0D63F}"/>
          </ac:spMkLst>
        </pc:spChg>
        <pc:spChg chg="mod">
          <ac:chgData name="Kaja Mosserud-Haavardsholm" userId="S::kajaem@uio.no::73941e72-4895-4094-a4d2-92012810311f" providerId="AD" clId="Web-{55EDC284-E5C2-4572-A8BB-B05F72F17851}" dt="2022-04-21T11:20:18.739" v="70" actId="20577"/>
          <ac:spMkLst>
            <pc:docMk/>
            <pc:sldMk cId="60188408" sldId="281"/>
            <ac:spMk id="3" creationId="{0C2E9928-140B-0F5D-0351-AEAB7365CBA2}"/>
          </ac:spMkLst>
        </pc:spChg>
        <pc:spChg chg="del">
          <ac:chgData name="Kaja Mosserud-Haavardsholm" userId="S::kajaem@uio.no::73941e72-4895-4094-a4d2-92012810311f" providerId="AD" clId="Web-{55EDC284-E5C2-4572-A8BB-B05F72F17851}" dt="2022-04-21T11:20:07.301" v="58"/>
          <ac:spMkLst>
            <pc:docMk/>
            <pc:sldMk cId="60188408" sldId="281"/>
            <ac:spMk id="4" creationId="{BF1A4B67-31B7-B3E1-589A-D24C8F4768F0}"/>
          </ac:spMkLst>
        </pc:spChg>
        <pc:spChg chg="del">
          <ac:chgData name="Kaja Mosserud-Haavardsholm" userId="S::kajaem@uio.no::73941e72-4895-4094-a4d2-92012810311f" providerId="AD" clId="Web-{55EDC284-E5C2-4572-A8BB-B05F72F17851}" dt="2022-04-21T11:39:49.375" v="273"/>
          <ac:spMkLst>
            <pc:docMk/>
            <pc:sldMk cId="60188408" sldId="281"/>
            <ac:spMk id="5" creationId="{3AF692C3-7026-5E31-AD97-8AB20A69687C}"/>
          </ac:spMkLst>
        </pc:spChg>
        <pc:spChg chg="mod">
          <ac:chgData name="Kaja Mosserud-Haavardsholm" userId="S::kajaem@uio.no::73941e72-4895-4094-a4d2-92012810311f" providerId="AD" clId="Web-{55EDC284-E5C2-4572-A8BB-B05F72F17851}" dt="2022-04-21T11:18:30.689" v="25" actId="20577"/>
          <ac:spMkLst>
            <pc:docMk/>
            <pc:sldMk cId="60188408" sldId="281"/>
            <ac:spMk id="7" creationId="{622CACCB-4611-9AB8-F6DC-90F7BD7DAC02}"/>
          </ac:spMkLst>
        </pc:spChg>
        <pc:spChg chg="mod">
          <ac:chgData name="Kaja Mosserud-Haavardsholm" userId="S::kajaem@uio.no::73941e72-4895-4094-a4d2-92012810311f" providerId="AD" clId="Web-{55EDC284-E5C2-4572-A8BB-B05F72F17851}" dt="2022-04-21T11:19:15.862" v="56" actId="20577"/>
          <ac:spMkLst>
            <pc:docMk/>
            <pc:sldMk cId="60188408" sldId="281"/>
            <ac:spMk id="8" creationId="{A2186A5B-2C19-97F8-051E-B4789493A8DD}"/>
          </ac:spMkLst>
        </pc:spChg>
        <pc:graphicFrameChg chg="add mod ord modGraphic">
          <ac:chgData name="Kaja Mosserud-Haavardsholm" userId="S::kajaem@uio.no::73941e72-4895-4094-a4d2-92012810311f" providerId="AD" clId="Web-{55EDC284-E5C2-4572-A8BB-B05F72F17851}" dt="2022-04-21T11:42:41.661" v="385"/>
          <ac:graphicFrameMkLst>
            <pc:docMk/>
            <pc:sldMk cId="60188408" sldId="281"/>
            <ac:graphicFrameMk id="9" creationId="{F65B385E-9A77-9509-21A1-E88C0A3530EA}"/>
          </ac:graphicFrameMkLst>
        </pc:graphicFrameChg>
        <pc:graphicFrameChg chg="add mod ord modGraphic">
          <ac:chgData name="Kaja Mosserud-Haavardsholm" userId="S::kajaem@uio.no::73941e72-4895-4094-a4d2-92012810311f" providerId="AD" clId="Web-{55EDC284-E5C2-4572-A8BB-B05F72F17851}" dt="2022-04-21T11:42:46.770" v="391"/>
          <ac:graphicFrameMkLst>
            <pc:docMk/>
            <pc:sldMk cId="60188408" sldId="281"/>
            <ac:graphicFrameMk id="10" creationId="{3CAED7B8-B119-CE12-3776-17186FFE8D4F}"/>
          </ac:graphicFrameMkLst>
        </pc:graphicFrameChg>
      </pc:sldChg>
      <pc:sldChg chg="new del">
        <pc:chgData name="Kaja Mosserud-Haavardsholm" userId="S::kajaem@uio.no::73941e72-4895-4094-a4d2-92012810311f" providerId="AD" clId="Web-{55EDC284-E5C2-4572-A8BB-B05F72F17851}" dt="2022-04-21T11:17:46.767" v="1"/>
        <pc:sldMkLst>
          <pc:docMk/>
          <pc:sldMk cId="2746931184" sldId="281"/>
        </pc:sldMkLst>
      </pc:sldChg>
    </pc:docChg>
  </pc:docChgLst>
  <pc:docChgLst>
    <pc:chgData name="Kaja Mosserud-Haavardsholm" userId="S::kajaem@uio.no::73941e72-4895-4094-a4d2-92012810311f" providerId="AD" clId="Web-{FD96B893-D7F3-488C-A7BD-D0310526812F}"/>
    <pc:docChg chg="addSld delSld modSld sldOrd">
      <pc:chgData name="Kaja Mosserud-Haavardsholm" userId="S::kajaem@uio.no::73941e72-4895-4094-a4d2-92012810311f" providerId="AD" clId="Web-{FD96B893-D7F3-488C-A7BD-D0310526812F}" dt="2022-04-21T13:17:58.241" v="292"/>
      <pc:docMkLst>
        <pc:docMk/>
      </pc:docMkLst>
      <pc:sldChg chg="modSp">
        <pc:chgData name="Kaja Mosserud-Haavardsholm" userId="S::kajaem@uio.no::73941e72-4895-4094-a4d2-92012810311f" providerId="AD" clId="Web-{FD96B893-D7F3-488C-A7BD-D0310526812F}" dt="2022-04-21T12:36:08.879" v="87" actId="20577"/>
        <pc:sldMkLst>
          <pc:docMk/>
          <pc:sldMk cId="3382128355" sldId="269"/>
        </pc:sldMkLst>
        <pc:spChg chg="mod">
          <ac:chgData name="Kaja Mosserud-Haavardsholm" userId="S::kajaem@uio.no::73941e72-4895-4094-a4d2-92012810311f" providerId="AD" clId="Web-{FD96B893-D7F3-488C-A7BD-D0310526812F}" dt="2022-04-21T12:36:08.879" v="87" actId="20577"/>
          <ac:spMkLst>
            <pc:docMk/>
            <pc:sldMk cId="3382128355" sldId="269"/>
            <ac:spMk id="2" creationId="{00000000-0000-0000-0000-000000000000}"/>
          </ac:spMkLst>
        </pc:spChg>
      </pc:sldChg>
      <pc:sldChg chg="modSp ord">
        <pc:chgData name="Kaja Mosserud-Haavardsholm" userId="S::kajaem@uio.no::73941e72-4895-4094-a4d2-92012810311f" providerId="AD" clId="Web-{FD96B893-D7F3-488C-A7BD-D0310526812F}" dt="2022-04-21T13:17:53.772" v="291"/>
        <pc:sldMkLst>
          <pc:docMk/>
          <pc:sldMk cId="2682814648" sldId="271"/>
        </pc:sldMkLst>
        <pc:spChg chg="mod">
          <ac:chgData name="Kaja Mosserud-Haavardsholm" userId="S::kajaem@uio.no::73941e72-4895-4094-a4d2-92012810311f" providerId="AD" clId="Web-{FD96B893-D7F3-488C-A7BD-D0310526812F}" dt="2022-04-21T12:56:00.681" v="92" actId="20577"/>
          <ac:spMkLst>
            <pc:docMk/>
            <pc:sldMk cId="2682814648" sldId="271"/>
            <ac:spMk id="2" creationId="{00000000-0000-0000-0000-000000000000}"/>
          </ac:spMkLst>
        </pc:spChg>
        <pc:spChg chg="mod">
          <ac:chgData name="Kaja Mosserud-Haavardsholm" userId="S::kajaem@uio.no::73941e72-4895-4094-a4d2-92012810311f" providerId="AD" clId="Web-{FD96B893-D7F3-488C-A7BD-D0310526812F}" dt="2022-04-21T12:55:56.587" v="90" actId="20577"/>
          <ac:spMkLst>
            <pc:docMk/>
            <pc:sldMk cId="2682814648" sldId="271"/>
            <ac:spMk id="10" creationId="{545A0E95-3EC5-F9F6-2F47-1388F2A6F607}"/>
          </ac:spMkLst>
        </pc:spChg>
      </pc:sldChg>
      <pc:sldChg chg="modSp ord">
        <pc:chgData name="Kaja Mosserud-Haavardsholm" userId="S::kajaem@uio.no::73941e72-4895-4094-a4d2-92012810311f" providerId="AD" clId="Web-{FD96B893-D7F3-488C-A7BD-D0310526812F}" dt="2022-04-21T13:17:58.241" v="292"/>
        <pc:sldMkLst>
          <pc:docMk/>
          <pc:sldMk cId="2059721839" sldId="274"/>
        </pc:sldMkLst>
        <pc:spChg chg="mod">
          <ac:chgData name="Kaja Mosserud-Haavardsholm" userId="S::kajaem@uio.no::73941e72-4895-4094-a4d2-92012810311f" providerId="AD" clId="Web-{FD96B893-D7F3-488C-A7BD-D0310526812F}" dt="2022-04-21T13:16:28.564" v="290" actId="20577"/>
          <ac:spMkLst>
            <pc:docMk/>
            <pc:sldMk cId="2059721839" sldId="274"/>
            <ac:spMk id="2" creationId="{E2674316-55F7-EEE8-15D6-70D335F483D5}"/>
          </ac:spMkLst>
        </pc:spChg>
        <pc:spChg chg="mod">
          <ac:chgData name="Kaja Mosserud-Haavardsholm" userId="S::kajaem@uio.no::73941e72-4895-4094-a4d2-92012810311f" providerId="AD" clId="Web-{FD96B893-D7F3-488C-A7BD-D0310526812F}" dt="2022-04-21T13:16:10.735" v="282" actId="20577"/>
          <ac:spMkLst>
            <pc:docMk/>
            <pc:sldMk cId="2059721839" sldId="274"/>
            <ac:spMk id="5" creationId="{67C71547-B77E-B35D-57A3-37EC1BEBF56E}"/>
          </ac:spMkLst>
        </pc:spChg>
        <pc:spChg chg="mod">
          <ac:chgData name="Kaja Mosserud-Haavardsholm" userId="S::kajaem@uio.no::73941e72-4895-4094-a4d2-92012810311f" providerId="AD" clId="Web-{FD96B893-D7F3-488C-A7BD-D0310526812F}" dt="2022-04-21T13:16:21.595" v="285" actId="20577"/>
          <ac:spMkLst>
            <pc:docMk/>
            <pc:sldMk cId="2059721839" sldId="274"/>
            <ac:spMk id="7" creationId="{71A301EF-381F-D6EE-5D01-FAE6AF54BAF8}"/>
          </ac:spMkLst>
        </pc:spChg>
      </pc:sldChg>
      <pc:sldChg chg="modSp">
        <pc:chgData name="Kaja Mosserud-Haavardsholm" userId="S::kajaem@uio.no::73941e72-4895-4094-a4d2-92012810311f" providerId="AD" clId="Web-{FD96B893-D7F3-488C-A7BD-D0310526812F}" dt="2022-04-21T12:31:27.332" v="52" actId="20577"/>
        <pc:sldMkLst>
          <pc:docMk/>
          <pc:sldMk cId="925823882" sldId="275"/>
        </pc:sldMkLst>
        <pc:spChg chg="mod">
          <ac:chgData name="Kaja Mosserud-Haavardsholm" userId="S::kajaem@uio.no::73941e72-4895-4094-a4d2-92012810311f" providerId="AD" clId="Web-{FD96B893-D7F3-488C-A7BD-D0310526812F}" dt="2022-04-21T12:31:27.332" v="52" actId="20577"/>
          <ac:spMkLst>
            <pc:docMk/>
            <pc:sldMk cId="925823882" sldId="275"/>
            <ac:spMk id="7" creationId="{12B20456-A43B-433F-29CF-FBA5E5AF0E87}"/>
          </ac:spMkLst>
        </pc:spChg>
      </pc:sldChg>
      <pc:sldChg chg="modSp">
        <pc:chgData name="Kaja Mosserud-Haavardsholm" userId="S::kajaem@uio.no::73941e72-4895-4094-a4d2-92012810311f" providerId="AD" clId="Web-{FD96B893-D7F3-488C-A7BD-D0310526812F}" dt="2022-04-21T12:33:46.871" v="57" actId="20577"/>
        <pc:sldMkLst>
          <pc:docMk/>
          <pc:sldMk cId="2159161112" sldId="277"/>
        </pc:sldMkLst>
        <pc:spChg chg="mod">
          <ac:chgData name="Kaja Mosserud-Haavardsholm" userId="S::kajaem@uio.no::73941e72-4895-4094-a4d2-92012810311f" providerId="AD" clId="Web-{FD96B893-D7F3-488C-A7BD-D0310526812F}" dt="2022-04-21T12:33:46.871" v="57" actId="20577"/>
          <ac:spMkLst>
            <pc:docMk/>
            <pc:sldMk cId="2159161112" sldId="277"/>
            <ac:spMk id="7" creationId="{5367C0E4-0506-6030-3FC6-F8718BF4C049}"/>
          </ac:spMkLst>
        </pc:spChg>
      </pc:sldChg>
      <pc:sldChg chg="modSp del">
        <pc:chgData name="Kaja Mosserud-Haavardsholm" userId="S::kajaem@uio.no::73941e72-4895-4094-a4d2-92012810311f" providerId="AD" clId="Web-{FD96B893-D7F3-488C-A7BD-D0310526812F}" dt="2022-04-21T13:07:46.190" v="238"/>
        <pc:sldMkLst>
          <pc:docMk/>
          <pc:sldMk cId="1558038807" sldId="280"/>
        </pc:sldMkLst>
        <pc:spChg chg="mod">
          <ac:chgData name="Kaja Mosserud-Haavardsholm" userId="S::kajaem@uio.no::73941e72-4895-4094-a4d2-92012810311f" providerId="AD" clId="Web-{FD96B893-D7F3-488C-A7BD-D0310526812F}" dt="2022-04-21T13:04:08.772" v="139" actId="20577"/>
          <ac:spMkLst>
            <pc:docMk/>
            <pc:sldMk cId="1558038807" sldId="280"/>
            <ac:spMk id="2" creationId="{EE487865-891C-3C7C-0330-95A08AA2B2CB}"/>
          </ac:spMkLst>
        </pc:spChg>
        <pc:spChg chg="mod">
          <ac:chgData name="Kaja Mosserud-Haavardsholm" userId="S::kajaem@uio.no::73941e72-4895-4094-a4d2-92012810311f" providerId="AD" clId="Web-{FD96B893-D7F3-488C-A7BD-D0310526812F}" dt="2022-04-21T13:03:57.474" v="136" actId="20577"/>
          <ac:spMkLst>
            <pc:docMk/>
            <pc:sldMk cId="1558038807" sldId="280"/>
            <ac:spMk id="5" creationId="{CC72B59A-D257-CB4B-E8E8-C4AB72D654AB}"/>
          </ac:spMkLst>
        </pc:spChg>
      </pc:sldChg>
      <pc:sldChg chg="modSp">
        <pc:chgData name="Kaja Mosserud-Haavardsholm" userId="S::kajaem@uio.no::73941e72-4895-4094-a4d2-92012810311f" providerId="AD" clId="Web-{FD96B893-D7F3-488C-A7BD-D0310526812F}" dt="2022-04-21T12:41:24.366" v="89" actId="20577"/>
        <pc:sldMkLst>
          <pc:docMk/>
          <pc:sldMk cId="3997630168" sldId="282"/>
        </pc:sldMkLst>
        <pc:spChg chg="mod">
          <ac:chgData name="Kaja Mosserud-Haavardsholm" userId="S::kajaem@uio.no::73941e72-4895-4094-a4d2-92012810311f" providerId="AD" clId="Web-{FD96B893-D7F3-488C-A7BD-D0310526812F}" dt="2022-04-21T12:41:24.366" v="89" actId="20577"/>
          <ac:spMkLst>
            <pc:docMk/>
            <pc:sldMk cId="3997630168" sldId="282"/>
            <ac:spMk id="2" creationId="{DDE809E3-FD24-CB23-A57A-60451D9D2FB4}"/>
          </ac:spMkLst>
        </pc:spChg>
      </pc:sldChg>
      <pc:sldChg chg="modSp">
        <pc:chgData name="Kaja Mosserud-Haavardsholm" userId="S::kajaem@uio.no::73941e72-4895-4094-a4d2-92012810311f" providerId="AD" clId="Web-{FD96B893-D7F3-488C-A7BD-D0310526812F}" dt="2022-04-21T13:11:09.749" v="271" actId="20577"/>
        <pc:sldMkLst>
          <pc:docMk/>
          <pc:sldMk cId="613732537" sldId="283"/>
        </pc:sldMkLst>
        <pc:spChg chg="mod">
          <ac:chgData name="Kaja Mosserud-Haavardsholm" userId="S::kajaem@uio.no::73941e72-4895-4094-a4d2-92012810311f" providerId="AD" clId="Web-{FD96B893-D7F3-488C-A7BD-D0310526812F}" dt="2022-04-21T13:11:09.749" v="271" actId="20577"/>
          <ac:spMkLst>
            <pc:docMk/>
            <pc:sldMk cId="613732537" sldId="283"/>
            <ac:spMk id="7" creationId="{8E2D3D1F-D6AD-6483-5E98-04871932893A}"/>
          </ac:spMkLst>
        </pc:spChg>
      </pc:sldChg>
      <pc:sldChg chg="delSp modSp new">
        <pc:chgData name="Kaja Mosserud-Haavardsholm" userId="S::kajaem@uio.no::73941e72-4895-4094-a4d2-92012810311f" providerId="AD" clId="Web-{FD96B893-D7F3-488C-A7BD-D0310526812F}" dt="2022-04-21T13:07:43.737" v="237" actId="20577"/>
        <pc:sldMkLst>
          <pc:docMk/>
          <pc:sldMk cId="1871866623" sldId="284"/>
        </pc:sldMkLst>
        <pc:spChg chg="mod">
          <ac:chgData name="Kaja Mosserud-Haavardsholm" userId="S::kajaem@uio.no::73941e72-4895-4094-a4d2-92012810311f" providerId="AD" clId="Web-{FD96B893-D7F3-488C-A7BD-D0310526812F}" dt="2022-04-21T13:06:21.045" v="178" actId="20577"/>
          <ac:spMkLst>
            <pc:docMk/>
            <pc:sldMk cId="1871866623" sldId="284"/>
            <ac:spMk id="6" creationId="{E8225FAE-F2DB-EF7C-F47F-17FD49BBDC56}"/>
          </ac:spMkLst>
        </pc:spChg>
        <pc:spChg chg="del">
          <ac:chgData name="Kaja Mosserud-Haavardsholm" userId="S::kajaem@uio.no::73941e72-4895-4094-a4d2-92012810311f" providerId="AD" clId="Web-{FD96B893-D7F3-488C-A7BD-D0310526812F}" dt="2022-04-21T13:04:04.006" v="138"/>
          <ac:spMkLst>
            <pc:docMk/>
            <pc:sldMk cId="1871866623" sldId="284"/>
            <ac:spMk id="7" creationId="{2FA9EE1B-DB8F-1698-3286-72279462386B}"/>
          </ac:spMkLst>
        </pc:spChg>
        <pc:spChg chg="mod">
          <ac:chgData name="Kaja Mosserud-Haavardsholm" userId="S::kajaem@uio.no::73941e72-4895-4094-a4d2-92012810311f" providerId="AD" clId="Web-{FD96B893-D7F3-488C-A7BD-D0310526812F}" dt="2022-04-21T13:07:43.737" v="237" actId="20577"/>
          <ac:spMkLst>
            <pc:docMk/>
            <pc:sldMk cId="1871866623" sldId="284"/>
            <ac:spMk id="8" creationId="{298150CD-EC83-099E-3D88-1A43948C4558}"/>
          </ac:spMkLst>
        </pc:spChg>
      </pc:sldChg>
    </pc:docChg>
  </pc:docChgLst>
  <pc:docChgLst>
    <pc:chgData name="Kaja Mosserud-Haavardsholm" userId="S::kajaem@uio.no::73941e72-4895-4094-a4d2-92012810311f" providerId="AD" clId="Web-{6CA23812-F586-4AA8-8536-DF8195E036A0}"/>
    <pc:docChg chg="addSld delSld modSld sldOrd">
      <pc:chgData name="Kaja Mosserud-Haavardsholm" userId="S::kajaem@uio.no::73941e72-4895-4094-a4d2-92012810311f" providerId="AD" clId="Web-{6CA23812-F586-4AA8-8536-DF8195E036A0}" dt="2022-04-22T11:18:22.184" v="1172" actId="1076"/>
      <pc:docMkLst>
        <pc:docMk/>
      </pc:docMkLst>
      <pc:sldChg chg="addSp delSp modSp del">
        <pc:chgData name="Kaja Mosserud-Haavardsholm" userId="S::kajaem@uio.no::73941e72-4895-4094-a4d2-92012810311f" providerId="AD" clId="Web-{6CA23812-F586-4AA8-8536-DF8195E036A0}" dt="2022-04-22T09:35:21.632" v="14"/>
        <pc:sldMkLst>
          <pc:docMk/>
          <pc:sldMk cId="3854075043" sldId="267"/>
        </pc:sldMkLst>
        <pc:spChg chg="mod">
          <ac:chgData name="Kaja Mosserud-Haavardsholm" userId="S::kajaem@uio.no::73941e72-4895-4094-a4d2-92012810311f" providerId="AD" clId="Web-{6CA23812-F586-4AA8-8536-DF8195E036A0}" dt="2022-04-22T09:34:18.974" v="3" actId="20577"/>
          <ac:spMkLst>
            <pc:docMk/>
            <pc:sldMk cId="3854075043" sldId="267"/>
            <ac:spMk id="5" creationId="{00000000-0000-0000-0000-000000000000}"/>
          </ac:spMkLst>
        </pc:spChg>
        <pc:picChg chg="del">
          <ac:chgData name="Kaja Mosserud-Haavardsholm" userId="S::kajaem@uio.no::73941e72-4895-4094-a4d2-92012810311f" providerId="AD" clId="Web-{6CA23812-F586-4AA8-8536-DF8195E036A0}" dt="2022-04-22T09:34:57.897" v="11"/>
          <ac:picMkLst>
            <pc:docMk/>
            <pc:sldMk cId="3854075043" sldId="267"/>
            <ac:picMk id="6" creationId="{5A11F4C4-DBDC-DB1C-ACE7-6BD1DCAE7DDF}"/>
          </ac:picMkLst>
        </pc:picChg>
        <pc:picChg chg="add del mod">
          <ac:chgData name="Kaja Mosserud-Haavardsholm" userId="S::kajaem@uio.no::73941e72-4895-4094-a4d2-92012810311f" providerId="AD" clId="Web-{6CA23812-F586-4AA8-8536-DF8195E036A0}" dt="2022-04-22T09:34:09.818" v="2"/>
          <ac:picMkLst>
            <pc:docMk/>
            <pc:sldMk cId="3854075043" sldId="267"/>
            <ac:picMk id="7" creationId="{EC6A71A7-9336-BBA3-3C7F-5428C81C2C37}"/>
          </ac:picMkLst>
        </pc:picChg>
      </pc:sldChg>
      <pc:sldChg chg="modSp">
        <pc:chgData name="Kaja Mosserud-Haavardsholm" userId="S::kajaem@uio.no::73941e72-4895-4094-a4d2-92012810311f" providerId="AD" clId="Web-{6CA23812-F586-4AA8-8536-DF8195E036A0}" dt="2022-04-22T10:39:50.984" v="408" actId="20577"/>
        <pc:sldMkLst>
          <pc:docMk/>
          <pc:sldMk cId="60188408" sldId="281"/>
        </pc:sldMkLst>
        <pc:spChg chg="mod">
          <ac:chgData name="Kaja Mosserud-Haavardsholm" userId="S::kajaem@uio.no::73941e72-4895-4094-a4d2-92012810311f" providerId="AD" clId="Web-{6CA23812-F586-4AA8-8536-DF8195E036A0}" dt="2022-04-22T10:39:50.984" v="408" actId="20577"/>
          <ac:spMkLst>
            <pc:docMk/>
            <pc:sldMk cId="60188408" sldId="281"/>
            <ac:spMk id="7" creationId="{622CACCB-4611-9AB8-F6DC-90F7BD7DAC02}"/>
          </ac:spMkLst>
        </pc:spChg>
      </pc:sldChg>
      <pc:sldChg chg="addSp delSp modSp new">
        <pc:chgData name="Kaja Mosserud-Haavardsholm" userId="S::kajaem@uio.no::73941e72-4895-4094-a4d2-92012810311f" providerId="AD" clId="Web-{6CA23812-F586-4AA8-8536-DF8195E036A0}" dt="2022-04-22T10:40:17.938" v="413" actId="14100"/>
        <pc:sldMkLst>
          <pc:docMk/>
          <pc:sldMk cId="4251065273" sldId="289"/>
        </pc:sldMkLst>
        <pc:spChg chg="del">
          <ac:chgData name="Kaja Mosserud-Haavardsholm" userId="S::kajaem@uio.no::73941e72-4895-4094-a4d2-92012810311f" providerId="AD" clId="Web-{6CA23812-F586-4AA8-8536-DF8195E036A0}" dt="2022-04-22T09:35:08.726" v="12"/>
          <ac:spMkLst>
            <pc:docMk/>
            <pc:sldMk cId="4251065273" sldId="289"/>
            <ac:spMk id="2" creationId="{0A87EBF0-DBA1-B0DE-A592-B79E7B06B402}"/>
          </ac:spMkLst>
        </pc:spChg>
        <pc:spChg chg="del">
          <ac:chgData name="Kaja Mosserud-Haavardsholm" userId="S::kajaem@uio.no::73941e72-4895-4094-a4d2-92012810311f" providerId="AD" clId="Web-{6CA23812-F586-4AA8-8536-DF8195E036A0}" dt="2022-04-22T09:35:11.304" v="13"/>
          <ac:spMkLst>
            <pc:docMk/>
            <pc:sldMk cId="4251065273" sldId="289"/>
            <ac:spMk id="3" creationId="{F8124A6C-B507-E9F7-8224-858794CB21E5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0:28:46.045" v="21"/>
          <ac:spMkLst>
            <pc:docMk/>
            <pc:sldMk cId="4251065273" sldId="289"/>
            <ac:spMk id="4" creationId="{C14E5798-5024-1D36-E1EA-E1C70DF8CCF5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0:40:17.938" v="413" actId="14100"/>
          <ac:spMkLst>
            <pc:docMk/>
            <pc:sldMk cId="4251065273" sldId="289"/>
            <ac:spMk id="6" creationId="{FB83B3B5-5FE9-C001-B446-8FDE33ADA4C5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0:38:24.778" v="404" actId="1076"/>
          <ac:spMkLst>
            <pc:docMk/>
            <pc:sldMk cId="4251065273" sldId="289"/>
            <ac:spMk id="7" creationId="{D3665E57-4844-FBBF-BF13-84A1592122CE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0:38:27.044" v="405" actId="1076"/>
          <ac:spMkLst>
            <pc:docMk/>
            <pc:sldMk cId="4251065273" sldId="289"/>
            <ac:spMk id="8" creationId="{DE39CDC5-142A-F726-4722-EDBD3716E7E7}"/>
          </ac:spMkLst>
        </pc:spChg>
        <pc:picChg chg="add mod ord modCrop">
          <ac:chgData name="Kaja Mosserud-Haavardsholm" userId="S::kajaem@uio.no::73941e72-4895-4094-a4d2-92012810311f" providerId="AD" clId="Web-{6CA23812-F586-4AA8-8536-DF8195E036A0}" dt="2022-04-22T10:40:13.672" v="411" actId="1076"/>
          <ac:picMkLst>
            <pc:docMk/>
            <pc:sldMk cId="4251065273" sldId="289"/>
            <ac:picMk id="9" creationId="{8EBFDB50-F5BF-7700-03E8-EFF920EF25B4}"/>
          </ac:picMkLst>
        </pc:picChg>
      </pc:sldChg>
      <pc:sldChg chg="modSp new del">
        <pc:chgData name="Kaja Mosserud-Haavardsholm" userId="S::kajaem@uio.no::73941e72-4895-4094-a4d2-92012810311f" providerId="AD" clId="Web-{6CA23812-F586-4AA8-8536-DF8195E036A0}" dt="2022-04-22T10:43:12.036" v="491"/>
        <pc:sldMkLst>
          <pc:docMk/>
          <pc:sldMk cId="2111181108" sldId="290"/>
        </pc:sldMkLst>
        <pc:spChg chg="mod">
          <ac:chgData name="Kaja Mosserud-Haavardsholm" userId="S::kajaem@uio.no::73941e72-4895-4094-a4d2-92012810311f" providerId="AD" clId="Web-{6CA23812-F586-4AA8-8536-DF8195E036A0}" dt="2022-04-22T10:41:22.533" v="454" actId="14100"/>
          <ac:spMkLst>
            <pc:docMk/>
            <pc:sldMk cId="2111181108" sldId="290"/>
            <ac:spMk id="6" creationId="{92D217FA-BB4B-A672-07C1-2D794E3B9733}"/>
          </ac:spMkLst>
        </pc:spChg>
      </pc:sldChg>
      <pc:sldChg chg="delSp modSp new">
        <pc:chgData name="Kaja Mosserud-Haavardsholm" userId="S::kajaem@uio.no::73941e72-4895-4094-a4d2-92012810311f" providerId="AD" clId="Web-{6CA23812-F586-4AA8-8536-DF8195E036A0}" dt="2022-04-22T11:10:46.344" v="1140" actId="20577"/>
        <pc:sldMkLst>
          <pc:docMk/>
          <pc:sldMk cId="3519689284" sldId="291"/>
        </pc:sldMkLst>
        <pc:spChg chg="mod">
          <ac:chgData name="Kaja Mosserud-Haavardsholm" userId="S::kajaem@uio.no::73941e72-4895-4094-a4d2-92012810311f" providerId="AD" clId="Web-{6CA23812-F586-4AA8-8536-DF8195E036A0}" dt="2022-04-22T11:08:37.169" v="1082" actId="20577"/>
          <ac:spMkLst>
            <pc:docMk/>
            <pc:sldMk cId="3519689284" sldId="291"/>
            <ac:spMk id="2" creationId="{DBEB77F7-F0F7-CD72-E953-9D5F231A7943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0:42:08.894" v="469" actId="20577"/>
          <ac:spMkLst>
            <pc:docMk/>
            <pc:sldMk cId="3519689284" sldId="291"/>
            <ac:spMk id="3" creationId="{B1930A2E-308B-FBAA-B991-2B0C5DF4A99B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0:32.594" v="1128" actId="20577"/>
          <ac:spMkLst>
            <pc:docMk/>
            <pc:sldMk cId="3519689284" sldId="291"/>
            <ac:spMk id="4" creationId="{656EDA8A-D001-1832-CF63-DBE6AD4CF926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1:09:38.218" v="1124"/>
          <ac:spMkLst>
            <pc:docMk/>
            <pc:sldMk cId="3519689284" sldId="291"/>
            <ac:spMk id="5" creationId="{BB5C0876-659E-6384-6E04-D246F9B81BE7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0:46.344" v="1140" actId="20577"/>
          <ac:spMkLst>
            <pc:docMk/>
            <pc:sldMk cId="3519689284" sldId="291"/>
            <ac:spMk id="7" creationId="{58EF5F81-8458-E2FE-05D1-C57D2141D3FD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0:42:13.581" v="471" actId="20577"/>
          <ac:spMkLst>
            <pc:docMk/>
            <pc:sldMk cId="3519689284" sldId="291"/>
            <ac:spMk id="8" creationId="{ADE93BF2-75D3-472A-85C4-AE371255F6A9}"/>
          </ac:spMkLst>
        </pc:spChg>
      </pc:sldChg>
      <pc:sldChg chg="addSp delSp modSp new mod modClrScheme chgLayout">
        <pc:chgData name="Kaja Mosserud-Haavardsholm" userId="S::kajaem@uio.no::73941e72-4895-4094-a4d2-92012810311f" providerId="AD" clId="Web-{6CA23812-F586-4AA8-8536-DF8195E036A0}" dt="2022-04-22T11:18:22.184" v="1172" actId="1076"/>
        <pc:sldMkLst>
          <pc:docMk/>
          <pc:sldMk cId="2423387911" sldId="292"/>
        </pc:sldMkLst>
        <pc:spChg chg="add del">
          <ac:chgData name="Kaja Mosserud-Haavardsholm" userId="S::kajaem@uio.no::73941e72-4895-4094-a4d2-92012810311f" providerId="AD" clId="Web-{6CA23812-F586-4AA8-8536-DF8195E036A0}" dt="2022-04-22T11:17:48.934" v="1169"/>
          <ac:spMkLst>
            <pc:docMk/>
            <pc:sldMk cId="2423387911" sldId="292"/>
            <ac:spMk id="2" creationId="{CB209E64-022C-3FD3-0EBB-DD64589038AC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3" creationId="{D68F312F-C9A1-5CD4-7D9C-97B7CFA9003B}"/>
          </ac:spMkLst>
        </pc:spChg>
        <pc:spChg chg="mod or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4" creationId="{F3EB77C6-4E22-52FA-4115-1848E2077CB0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5" creationId="{CBA1733E-05A4-119B-C3A0-E7DD4B97A31F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6" creationId="{CDCE2987-3792-448D-7D57-202CB645AA6E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7" creationId="{0FE9AE06-4F8D-F28F-F543-3ACB755E69BA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8" creationId="{75ED4121-D8A8-C735-44FD-D1FEFD86FA96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9" creationId="{5856CE17-4CB5-2EF5-3D7B-83541D0B57CE}"/>
          </ac:spMkLst>
        </pc:spChg>
        <pc:spChg chg="mod or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10" creationId="{3315B332-8675-D27C-BA48-E02D29273D84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11" creationId="{7648B976-1CC5-4E56-2E4D-7B4CADB6B34D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12" creationId="{D13D96D3-6FAC-E4BA-AF36-C7AA8B549815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13" creationId="{FB47152C-F9AA-AF79-F051-9A8B10C6021E}"/>
          </ac:spMkLst>
        </pc:spChg>
        <pc:spChg chg="ad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19" creationId="{3684056C-79DD-8844-8A06-A44BC93ECB3F}"/>
          </ac:spMkLst>
        </pc:spChg>
        <pc:spChg chg="add del mod">
          <ac:chgData name="Kaja Mosserud-Haavardsholm" userId="S::kajaem@uio.no::73941e72-4895-4094-a4d2-92012810311f" providerId="AD" clId="Web-{6CA23812-F586-4AA8-8536-DF8195E036A0}" dt="2022-04-22T11:15:37.102" v="1160"/>
          <ac:spMkLst>
            <pc:docMk/>
            <pc:sldMk cId="2423387911" sldId="292"/>
            <ac:spMk id="20" creationId="{4156AB2D-45ED-DA32-F046-BE574F0DB59F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6:23.228" v="1167"/>
          <ac:spMkLst>
            <pc:docMk/>
            <pc:sldMk cId="2423387911" sldId="292"/>
            <ac:spMk id="21" creationId="{941CF896-4A6C-E9D2-6DC7-E777FF167A9C}"/>
          </ac:spMkLst>
        </pc:spChg>
        <pc:spChg chg="add del mod">
          <ac:chgData name="Kaja Mosserud-Haavardsholm" userId="S::kajaem@uio.no::73941e72-4895-4094-a4d2-92012810311f" providerId="AD" clId="Web-{6CA23812-F586-4AA8-8536-DF8195E036A0}" dt="2022-04-22T11:15:37.102" v="1160"/>
          <ac:spMkLst>
            <pc:docMk/>
            <pc:sldMk cId="2423387911" sldId="292"/>
            <ac:spMk id="22" creationId="{C7DAD500-EBC7-AA0B-CEEE-FEE2F6372927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6:23.228" v="1167"/>
          <ac:spMkLst>
            <pc:docMk/>
            <pc:sldMk cId="2423387911" sldId="292"/>
            <ac:spMk id="23" creationId="{F9D27EF7-9752-9BCB-2057-A27CACAD5BD2}"/>
          </ac:spMkLst>
        </pc:spChg>
        <pc:spChg chg="add del mod">
          <ac:chgData name="Kaja Mosserud-Haavardsholm" userId="S::kajaem@uio.no::73941e72-4895-4094-a4d2-92012810311f" providerId="AD" clId="Web-{6CA23812-F586-4AA8-8536-DF8195E036A0}" dt="2022-04-22T11:15:37.102" v="1160"/>
          <ac:spMkLst>
            <pc:docMk/>
            <pc:sldMk cId="2423387911" sldId="292"/>
            <ac:spMk id="24" creationId="{5034ED9C-0B57-F29D-EA01-410EEF6185FF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6:23.228" v="1167"/>
          <ac:spMkLst>
            <pc:docMk/>
            <pc:sldMk cId="2423387911" sldId="292"/>
            <ac:spMk id="25" creationId="{11C60539-7912-EF50-0A0C-34117A92B38E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5:46.180" v="1162"/>
          <ac:spMkLst>
            <pc:docMk/>
            <pc:sldMk cId="2423387911" sldId="292"/>
            <ac:spMk id="26" creationId="{75D273B7-A5D4-9E3B-D865-0C68ACCFCF44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5:46.180" v="1162"/>
          <ac:spMkLst>
            <pc:docMk/>
            <pc:sldMk cId="2423387911" sldId="292"/>
            <ac:spMk id="27" creationId="{7B4F9072-A0BA-7715-FF6B-8552F7F6E863}"/>
          </ac:spMkLst>
        </pc:spChg>
        <pc:spChg chg="add del">
          <ac:chgData name="Kaja Mosserud-Haavardsholm" userId="S::kajaem@uio.no::73941e72-4895-4094-a4d2-92012810311f" providerId="AD" clId="Web-{6CA23812-F586-4AA8-8536-DF8195E036A0}" dt="2022-04-22T11:15:46.180" v="1162"/>
          <ac:spMkLst>
            <pc:docMk/>
            <pc:sldMk cId="2423387911" sldId="292"/>
            <ac:spMk id="28" creationId="{D2AFBC2F-F39A-9260-C1CA-2C90F2269642}"/>
          </ac:spMkLst>
        </pc:spChg>
        <pc:spChg chg="ad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29" creationId="{260542DF-1D24-4C1C-1CE5-692DFE9A664C}"/>
          </ac:spMkLst>
        </pc:spChg>
        <pc:spChg chg="add">
          <ac:chgData name="Kaja Mosserud-Haavardsholm" userId="S::kajaem@uio.no::73941e72-4895-4094-a4d2-92012810311f" providerId="AD" clId="Web-{6CA23812-F586-4AA8-8536-DF8195E036A0}" dt="2022-04-22T11:17:53.887" v="1170"/>
          <ac:spMkLst>
            <pc:docMk/>
            <pc:sldMk cId="2423387911" sldId="292"/>
            <ac:spMk id="30" creationId="{DF22528D-E9FE-6081-260D-268600CBC72C}"/>
          </ac:spMkLst>
        </pc:spChg>
        <pc:picChg chg="add del mod ord modCrop">
          <ac:chgData name="Kaja Mosserud-Haavardsholm" userId="S::kajaem@uio.no::73941e72-4895-4094-a4d2-92012810311f" providerId="AD" clId="Web-{6CA23812-F586-4AA8-8536-DF8195E036A0}" dt="2022-04-22T11:14:57.882" v="1156"/>
          <ac:picMkLst>
            <pc:docMk/>
            <pc:sldMk cId="2423387911" sldId="292"/>
            <ac:picMk id="14" creationId="{F07386A4-C8FE-BC3A-016F-BE582B4DB82A}"/>
          </ac:picMkLst>
        </pc:picChg>
        <pc:picChg chg="add del mod ord modCrop">
          <ac:chgData name="Kaja Mosserud-Haavardsholm" userId="S::kajaem@uio.no::73941e72-4895-4094-a4d2-92012810311f" providerId="AD" clId="Web-{6CA23812-F586-4AA8-8536-DF8195E036A0}" dt="2022-04-22T11:15:52.634" v="1164"/>
          <ac:picMkLst>
            <pc:docMk/>
            <pc:sldMk cId="2423387911" sldId="292"/>
            <ac:picMk id="15" creationId="{93C4D049-8711-D0DF-9184-3DA433C1B2C2}"/>
          </ac:picMkLst>
        </pc:picChg>
        <pc:picChg chg="add del mod ord modCrop">
          <ac:chgData name="Kaja Mosserud-Haavardsholm" userId="S::kajaem@uio.no::73941e72-4895-4094-a4d2-92012810311f" providerId="AD" clId="Web-{6CA23812-F586-4AA8-8536-DF8195E036A0}" dt="2022-04-22T11:16:25.088" v="1168"/>
          <ac:picMkLst>
            <pc:docMk/>
            <pc:sldMk cId="2423387911" sldId="292"/>
            <ac:picMk id="16" creationId="{8AC6817A-3821-6C15-2F12-2B59A2525516}"/>
          </ac:picMkLst>
        </pc:picChg>
        <pc:picChg chg="add mod ord modCrop">
          <ac:chgData name="Kaja Mosserud-Haavardsholm" userId="S::kajaem@uio.no::73941e72-4895-4094-a4d2-92012810311f" providerId="AD" clId="Web-{6CA23812-F586-4AA8-8536-DF8195E036A0}" dt="2022-04-22T11:18:22.184" v="1172" actId="1076"/>
          <ac:picMkLst>
            <pc:docMk/>
            <pc:sldMk cId="2423387911" sldId="292"/>
            <ac:picMk id="17" creationId="{4C50EB71-DAFE-FC65-625B-2A181A5684EC}"/>
          </ac:picMkLst>
        </pc:picChg>
      </pc:sldChg>
      <pc:sldChg chg="addSp delSp modSp new ord">
        <pc:chgData name="Kaja Mosserud-Haavardsholm" userId="S::kajaem@uio.no::73941e72-4895-4094-a4d2-92012810311f" providerId="AD" clId="Web-{6CA23812-F586-4AA8-8536-DF8195E036A0}" dt="2022-04-22T11:10:50.407" v="1141"/>
        <pc:sldMkLst>
          <pc:docMk/>
          <pc:sldMk cId="1717902442" sldId="293"/>
        </pc:sldMkLst>
        <pc:spChg chg="mod">
          <ac:chgData name="Kaja Mosserud-Haavardsholm" userId="S::kajaem@uio.no::73941e72-4895-4094-a4d2-92012810311f" providerId="AD" clId="Web-{6CA23812-F586-4AA8-8536-DF8195E036A0}" dt="2022-04-22T11:06:19.916" v="988" actId="20577"/>
          <ac:spMkLst>
            <pc:docMk/>
            <pc:sldMk cId="1717902442" sldId="293"/>
            <ac:spMk id="2" creationId="{EF983A63-CFD9-7F81-0410-69EC38D2A575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05:42.915" v="970" actId="1076"/>
          <ac:spMkLst>
            <pc:docMk/>
            <pc:sldMk cId="1717902442" sldId="293"/>
            <ac:spMk id="3" creationId="{7A3C1AF6-6D91-D5ED-63EE-CEC80C907A4D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1:01:37.111" v="868"/>
          <ac:spMkLst>
            <pc:docMk/>
            <pc:sldMk cId="1717902442" sldId="293"/>
            <ac:spMk id="4" creationId="{D2A19413-0F38-50EF-EB66-3A67EB35D418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05:40.946" v="969" actId="1076"/>
          <ac:spMkLst>
            <pc:docMk/>
            <pc:sldMk cId="1717902442" sldId="293"/>
            <ac:spMk id="5" creationId="{F106F356-CD4C-76F6-CD96-DFD65F8558F8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1:01:39.018" v="869"/>
          <ac:spMkLst>
            <pc:docMk/>
            <pc:sldMk cId="1717902442" sldId="293"/>
            <ac:spMk id="6" creationId="{BC2245E0-CBED-18A7-93D7-C2277EA6BEC6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05:38.961" v="968" actId="1076"/>
          <ac:spMkLst>
            <pc:docMk/>
            <pc:sldMk cId="1717902442" sldId="293"/>
            <ac:spMk id="7" creationId="{101116E8-E6CE-21C4-E954-47EE5465139B}"/>
          </ac:spMkLst>
        </pc:spChg>
        <pc:spChg chg="mod">
          <ac:chgData name="Kaja Mosserud-Haavardsholm" userId="S::kajaem@uio.no::73941e72-4895-4094-a4d2-92012810311f" providerId="AD" clId="Web-{6CA23812-F586-4AA8-8536-DF8195E036A0}" dt="2022-04-22T11:02:04.800" v="882" actId="20577"/>
          <ac:spMkLst>
            <pc:docMk/>
            <pc:sldMk cId="1717902442" sldId="293"/>
            <ac:spMk id="10" creationId="{F32AB0B4-B284-73AB-523F-BA1803838AF5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0:59:50.687" v="859"/>
          <ac:spMkLst>
            <pc:docMk/>
            <pc:sldMk cId="1717902442" sldId="293"/>
            <ac:spMk id="11" creationId="{8AF7B3EC-2DF0-D454-16D1-BD7BE3BDF9C4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1:00:08" v="860"/>
          <ac:spMkLst>
            <pc:docMk/>
            <pc:sldMk cId="1717902442" sldId="293"/>
            <ac:spMk id="12" creationId="{51F45496-C6D4-2D34-98E9-17CDF5423C89}"/>
          </ac:spMkLst>
        </pc:spChg>
        <pc:spChg chg="del">
          <ac:chgData name="Kaja Mosserud-Haavardsholm" userId="S::kajaem@uio.no::73941e72-4895-4094-a4d2-92012810311f" providerId="AD" clId="Web-{6CA23812-F586-4AA8-8536-DF8195E036A0}" dt="2022-04-22T11:00:23.781" v="861"/>
          <ac:spMkLst>
            <pc:docMk/>
            <pc:sldMk cId="1717902442" sldId="293"/>
            <ac:spMk id="13" creationId="{9AB896C3-CB81-3F5E-F144-A9FE8C947504}"/>
          </ac:spMkLst>
        </pc:spChg>
        <pc:picChg chg="add mod ord">
          <ac:chgData name="Kaja Mosserud-Haavardsholm" userId="S::kajaem@uio.no::73941e72-4895-4094-a4d2-92012810311f" providerId="AD" clId="Web-{6CA23812-F586-4AA8-8536-DF8195E036A0}" dt="2022-04-22T10:59:50.687" v="859"/>
          <ac:picMkLst>
            <pc:docMk/>
            <pc:sldMk cId="1717902442" sldId="293"/>
            <ac:picMk id="14" creationId="{1521BDC0-3DA9-B04D-9B9F-38E0EECAFA0A}"/>
          </ac:picMkLst>
        </pc:picChg>
        <pc:picChg chg="add mod ord">
          <ac:chgData name="Kaja Mosserud-Haavardsholm" userId="S::kajaem@uio.no::73941e72-4895-4094-a4d2-92012810311f" providerId="AD" clId="Web-{6CA23812-F586-4AA8-8536-DF8195E036A0}" dt="2022-04-22T11:02:08.050" v="883" actId="1076"/>
          <ac:picMkLst>
            <pc:docMk/>
            <pc:sldMk cId="1717902442" sldId="293"/>
            <ac:picMk id="15" creationId="{9C3616C3-27B0-3B8B-9CF1-C34BD1783F39}"/>
          </ac:picMkLst>
        </pc:picChg>
        <pc:picChg chg="add mod ord">
          <ac:chgData name="Kaja Mosserud-Haavardsholm" userId="S::kajaem@uio.no::73941e72-4895-4094-a4d2-92012810311f" providerId="AD" clId="Web-{6CA23812-F586-4AA8-8536-DF8195E036A0}" dt="2022-04-22T11:02:12.159" v="884" actId="1076"/>
          <ac:picMkLst>
            <pc:docMk/>
            <pc:sldMk cId="1717902442" sldId="293"/>
            <ac:picMk id="16" creationId="{717450F8-18FD-8B09-7982-4CF2743082A4}"/>
          </ac:picMkLst>
        </pc:picChg>
      </pc:sldChg>
      <pc:sldChg chg="new del">
        <pc:chgData name="Kaja Mosserud-Haavardsholm" userId="S::kajaem@uio.no::73941e72-4895-4094-a4d2-92012810311f" providerId="AD" clId="Web-{6CA23812-F586-4AA8-8536-DF8195E036A0}" dt="2022-04-22T10:57:50.762" v="845"/>
        <pc:sldMkLst>
          <pc:docMk/>
          <pc:sldMk cId="2178170699" sldId="293"/>
        </pc:sldMkLst>
      </pc:sldChg>
    </pc:docChg>
  </pc:docChgLst>
  <pc:docChgLst>
    <pc:chgData name="Kaja Mosserud-Haavardsholm" userId="S::kajaem@uio.no::73941e72-4895-4094-a4d2-92012810311f" providerId="AD" clId="Web-{7BA92DF9-463A-42EC-8DFB-DA3C17B27373}"/>
    <pc:docChg chg="addSld delSld modSld">
      <pc:chgData name="Kaja Mosserud-Haavardsholm" userId="S::kajaem@uio.no::73941e72-4895-4094-a4d2-92012810311f" providerId="AD" clId="Web-{7BA92DF9-463A-42EC-8DFB-DA3C17B27373}" dt="2022-04-22T09:07:03.983" v="72" actId="20577"/>
      <pc:docMkLst>
        <pc:docMk/>
      </pc:docMkLst>
      <pc:sldChg chg="addSp delSp modSp del mod modClrScheme chgLayout">
        <pc:chgData name="Kaja Mosserud-Haavardsholm" userId="S::kajaem@uio.no::73941e72-4895-4094-a4d2-92012810311f" providerId="AD" clId="Web-{7BA92DF9-463A-42EC-8DFB-DA3C17B27373}" dt="2022-04-22T09:06:16.935" v="65"/>
        <pc:sldMkLst>
          <pc:docMk/>
          <pc:sldMk cId="4117986957" sldId="266"/>
        </pc:sldMkLst>
        <pc:spChg chg="mod ord">
          <ac:chgData name="Kaja Mosserud-Haavardsholm" userId="S::kajaem@uio.no::73941e72-4895-4094-a4d2-92012810311f" providerId="AD" clId="Web-{7BA92DF9-463A-42EC-8DFB-DA3C17B27373}" dt="2022-04-22T09:04:37.745" v="48" actId="20577"/>
          <ac:spMkLst>
            <pc:docMk/>
            <pc:sldMk cId="4117986957" sldId="266"/>
            <ac:spMk id="2" creationId="{00000000-0000-0000-0000-000000000000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3" creationId="{00000000-0000-0000-0000-000000000000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4" creationId="{00000000-0000-0000-0000-000000000000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2:12.523" v="4" actId="20577"/>
          <ac:spMkLst>
            <pc:docMk/>
            <pc:sldMk cId="4117986957" sldId="266"/>
            <ac:spMk id="5" creationId="{00000000-0000-0000-0000-000000000000}"/>
          </ac:spMkLst>
        </pc:spChg>
        <pc:spChg chg="add del 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6" creationId="{9CCDF855-1D4D-EA82-78A4-FFCD9C77F472}"/>
          </ac:spMkLst>
        </pc:spChg>
        <pc:spChg chg="del">
          <ac:chgData name="Kaja Mosserud-Haavardsholm" userId="S::kajaem@uio.no::73941e72-4895-4094-a4d2-92012810311f" providerId="AD" clId="Web-{7BA92DF9-463A-42EC-8DFB-DA3C17B27373}" dt="2022-04-22T08:58:42.205" v="0"/>
          <ac:spMkLst>
            <pc:docMk/>
            <pc:sldMk cId="4117986957" sldId="266"/>
            <ac:spMk id="7" creationId="{00000000-0000-0000-0000-000000000000}"/>
          </ac:spMkLst>
        </pc:spChg>
        <pc:spChg chg="add del 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8" creationId="{97B4EC6C-9388-3D13-5164-59CB2303F6B3}"/>
          </ac:spMkLst>
        </pc:spChg>
        <pc:spChg chg="add del 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9" creationId="{8130D1C9-4F73-52C0-35DE-CF8A75F4A0CD}"/>
          </ac:spMkLst>
        </pc:spChg>
        <pc:spChg chg="add del 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10" creationId="{D6C2E05A-277B-5C12-5D17-F2256984470B}"/>
          </ac:spMkLst>
        </pc:spChg>
        <pc:spChg chg="add del mod ord">
          <ac:chgData name="Kaja Mosserud-Haavardsholm" userId="S::kajaem@uio.no::73941e72-4895-4094-a4d2-92012810311f" providerId="AD" clId="Web-{7BA92DF9-463A-42EC-8DFB-DA3C17B27373}" dt="2022-04-22T09:01:59.273" v="2"/>
          <ac:spMkLst>
            <pc:docMk/>
            <pc:sldMk cId="4117986957" sldId="266"/>
            <ac:spMk id="11" creationId="{0E51BB89-0D01-272A-1B35-9ACCE2086205}"/>
          </ac:spMkLst>
        </pc:spChg>
      </pc:sldChg>
      <pc:sldChg chg="modSp">
        <pc:chgData name="Kaja Mosserud-Haavardsholm" userId="S::kajaem@uio.no::73941e72-4895-4094-a4d2-92012810311f" providerId="AD" clId="Web-{7BA92DF9-463A-42EC-8DFB-DA3C17B27373}" dt="2022-04-22T09:07:03.983" v="72" actId="20577"/>
        <pc:sldMkLst>
          <pc:docMk/>
          <pc:sldMk cId="3854075043" sldId="267"/>
        </pc:sldMkLst>
        <pc:spChg chg="mod">
          <ac:chgData name="Kaja Mosserud-Haavardsholm" userId="S::kajaem@uio.no::73941e72-4895-4094-a4d2-92012810311f" providerId="AD" clId="Web-{7BA92DF9-463A-42EC-8DFB-DA3C17B27373}" dt="2022-04-22T09:07:03.983" v="72" actId="20577"/>
          <ac:spMkLst>
            <pc:docMk/>
            <pc:sldMk cId="3854075043" sldId="267"/>
            <ac:spMk id="12" creationId="{E6F596BE-ABEC-58B0-E476-361DC92D464D}"/>
          </ac:spMkLst>
        </pc:spChg>
      </pc:sldChg>
      <pc:sldChg chg="addSp delSp modSp new add del mod modClrScheme chgLayout">
        <pc:chgData name="Kaja Mosserud-Haavardsholm" userId="S::kajaem@uio.no::73941e72-4895-4094-a4d2-92012810311f" providerId="AD" clId="Web-{7BA92DF9-463A-42EC-8DFB-DA3C17B27373}" dt="2022-04-22T09:06:19.841" v="66"/>
        <pc:sldMkLst>
          <pc:docMk/>
          <pc:sldMk cId="942982895" sldId="287"/>
        </pc:sldMkLst>
        <pc:spChg chg="mod ord">
          <ac:chgData name="Kaja Mosserud-Haavardsholm" userId="S::kajaem@uio.no::73941e72-4895-4094-a4d2-92012810311f" providerId="AD" clId="Web-{7BA92DF9-463A-42EC-8DFB-DA3C17B27373}" dt="2022-04-22T09:05:12.621" v="54" actId="20577"/>
          <ac:spMkLst>
            <pc:docMk/>
            <pc:sldMk cId="942982895" sldId="287"/>
            <ac:spMk id="2" creationId="{D2CFA582-7B94-EF93-0925-16465132A381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4:34.448" v="47" actId="20577"/>
          <ac:spMkLst>
            <pc:docMk/>
            <pc:sldMk cId="942982895" sldId="287"/>
            <ac:spMk id="3" creationId="{90B35C8C-6E9B-0B3A-9B7C-4083BBA21F31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4:10.963" v="35" actId="20577"/>
          <ac:spMkLst>
            <pc:docMk/>
            <pc:sldMk cId="942982895" sldId="287"/>
            <ac:spMk id="4" creationId="{FB0BE05C-B71B-EC01-BE7C-B5DB3E3EC64F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4:23.729" v="41" actId="20577"/>
          <ac:spMkLst>
            <pc:docMk/>
            <pc:sldMk cId="942982895" sldId="287"/>
            <ac:spMk id="5" creationId="{1F5E7256-4534-0CC9-2B40-0686FF095605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4:06.557" v="32" actId="20577"/>
          <ac:spMkLst>
            <pc:docMk/>
            <pc:sldMk cId="942982895" sldId="287"/>
            <ac:spMk id="6" creationId="{D6E2E5CF-A957-27D8-456D-E526B647BCBA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4:18.073" v="38" actId="20577"/>
          <ac:spMkLst>
            <pc:docMk/>
            <pc:sldMk cId="942982895" sldId="287"/>
            <ac:spMk id="7" creationId="{EE058FD1-A577-DFDD-9F70-ECD64A856BAB}"/>
          </ac:spMkLst>
        </pc:spChg>
        <pc:spChg chg="add del">
          <ac:chgData name="Kaja Mosserud-Haavardsholm" userId="S::kajaem@uio.no::73941e72-4895-4094-a4d2-92012810311f" providerId="AD" clId="Web-{7BA92DF9-463A-42EC-8DFB-DA3C17B27373}" dt="2022-04-22T09:04:02.713" v="28"/>
          <ac:spMkLst>
            <pc:docMk/>
            <pc:sldMk cId="942982895" sldId="287"/>
            <ac:spMk id="8" creationId="{BEA1C048-79A5-1220-3E30-5A8258FA7FF4}"/>
          </ac:spMkLst>
        </pc:spChg>
        <pc:spChg chg="mod ord">
          <ac:chgData name="Kaja Mosserud-Haavardsholm" userId="S::kajaem@uio.no::73941e72-4895-4094-a4d2-92012810311f" providerId="AD" clId="Web-{7BA92DF9-463A-42EC-8DFB-DA3C17B27373}" dt="2022-04-22T09:04:02.713" v="28"/>
          <ac:spMkLst>
            <pc:docMk/>
            <pc:sldMk cId="942982895" sldId="287"/>
            <ac:spMk id="9" creationId="{E78CF663-8212-27ED-5DE5-1533F28919FE}"/>
          </ac:spMkLst>
        </pc:spChg>
      </pc:sldChg>
      <pc:sldChg chg="modSp new">
        <pc:chgData name="Kaja Mosserud-Haavardsholm" userId="S::kajaem@uio.no::73941e72-4895-4094-a4d2-92012810311f" providerId="AD" clId="Web-{7BA92DF9-463A-42EC-8DFB-DA3C17B27373}" dt="2022-04-22T09:06:12.232" v="64" actId="14100"/>
        <pc:sldMkLst>
          <pc:docMk/>
          <pc:sldMk cId="2147614121" sldId="288"/>
        </pc:sldMkLst>
        <pc:spChg chg="mod">
          <ac:chgData name="Kaja Mosserud-Haavardsholm" userId="S::kajaem@uio.no::73941e72-4895-4094-a4d2-92012810311f" providerId="AD" clId="Web-{7BA92DF9-463A-42EC-8DFB-DA3C17B27373}" dt="2022-04-22T09:05:15.512" v="56" actId="20577"/>
          <ac:spMkLst>
            <pc:docMk/>
            <pc:sldMk cId="2147614121" sldId="288"/>
            <ac:spMk id="2" creationId="{811C7BB3-ED8D-B54A-1662-EB65A2FB4A14}"/>
          </ac:spMkLst>
        </pc:spChg>
        <pc:spChg chg="mod">
          <ac:chgData name="Kaja Mosserud-Haavardsholm" userId="S::kajaem@uio.no::73941e72-4895-4094-a4d2-92012810311f" providerId="AD" clId="Web-{7BA92DF9-463A-42EC-8DFB-DA3C17B27373}" dt="2022-04-22T09:06:12.232" v="64" actId="14100"/>
          <ac:spMkLst>
            <pc:docMk/>
            <pc:sldMk cId="2147614121" sldId="288"/>
            <ac:spMk id="3" creationId="{D132D62E-B6D7-0B50-B364-9F6C788AD26B}"/>
          </ac:spMkLst>
        </pc:spChg>
      </pc:sldChg>
      <pc:sldChg chg="new del">
        <pc:chgData name="Kaja Mosserud-Haavardsholm" userId="S::kajaem@uio.no::73941e72-4895-4094-a4d2-92012810311f" providerId="AD" clId="Web-{7BA92DF9-463A-42EC-8DFB-DA3C17B27373}" dt="2022-04-22T09:04:54.261" v="52"/>
        <pc:sldMkLst>
          <pc:docMk/>
          <pc:sldMk cId="2220623197" sldId="288"/>
        </pc:sldMkLst>
      </pc:sldChg>
    </pc:docChg>
  </pc:docChgLst>
  <pc:docChgLst>
    <pc:chgData name="Josef Noll" userId="S::jnoll@uio.no::47bf06be-f1ff-4076-9d25-ef324fefca66" providerId="AD" clId="Web-{62574E31-2BF3-4418-A964-9A5135F01C53}"/>
    <pc:docChg chg="addSld modSld">
      <pc:chgData name="Josef Noll" userId="S::jnoll@uio.no::47bf06be-f1ff-4076-9d25-ef324fefca66" providerId="AD" clId="Web-{62574E31-2BF3-4418-A964-9A5135F01C53}" dt="2022-04-21T11:59:57.625" v="875" actId="20577"/>
      <pc:docMkLst>
        <pc:docMk/>
      </pc:docMkLst>
      <pc:sldChg chg="modSp">
        <pc:chgData name="Josef Noll" userId="S::jnoll@uio.no::47bf06be-f1ff-4076-9d25-ef324fefca66" providerId="AD" clId="Web-{62574E31-2BF3-4418-A964-9A5135F01C53}" dt="2022-04-21T11:52:50.664" v="121" actId="20577"/>
        <pc:sldMkLst>
          <pc:docMk/>
          <pc:sldMk cId="1082874148" sldId="270"/>
        </pc:sldMkLst>
        <pc:spChg chg="mod">
          <ac:chgData name="Josef Noll" userId="S::jnoll@uio.no::47bf06be-f1ff-4076-9d25-ef324fefca66" providerId="AD" clId="Web-{62574E31-2BF3-4418-A964-9A5135F01C53}" dt="2022-04-21T11:51:13.209" v="87" actId="20577"/>
          <ac:spMkLst>
            <pc:docMk/>
            <pc:sldMk cId="1082874148" sldId="270"/>
            <ac:spMk id="2" creationId="{00000000-0000-0000-0000-000000000000}"/>
          </ac:spMkLst>
        </pc:spChg>
        <pc:spChg chg="mod">
          <ac:chgData name="Josef Noll" userId="S::jnoll@uio.no::47bf06be-f1ff-4076-9d25-ef324fefca66" providerId="AD" clId="Web-{62574E31-2BF3-4418-A964-9A5135F01C53}" dt="2022-04-21T11:52:50.664" v="121" actId="20577"/>
          <ac:spMkLst>
            <pc:docMk/>
            <pc:sldMk cId="1082874148" sldId="270"/>
            <ac:spMk id="5" creationId="{00000000-0000-0000-0000-000000000000}"/>
          </ac:spMkLst>
        </pc:spChg>
      </pc:sldChg>
      <pc:sldChg chg="addSp modSp">
        <pc:chgData name="Josef Noll" userId="S::jnoll@uio.no::47bf06be-f1ff-4076-9d25-ef324fefca66" providerId="AD" clId="Web-{62574E31-2BF3-4418-A964-9A5135F01C53}" dt="2022-04-21T11:56:01.043" v="495" actId="20577"/>
        <pc:sldMkLst>
          <pc:docMk/>
          <pc:sldMk cId="1523784790" sldId="272"/>
        </pc:sldMkLst>
        <pc:spChg chg="mod">
          <ac:chgData name="Josef Noll" userId="S::jnoll@uio.no::47bf06be-f1ff-4076-9d25-ef324fefca66" providerId="AD" clId="Web-{62574E31-2BF3-4418-A964-9A5135F01C53}" dt="2022-04-21T11:56:01.043" v="495" actId="20577"/>
          <ac:spMkLst>
            <pc:docMk/>
            <pc:sldMk cId="1523784790" sldId="272"/>
            <ac:spMk id="2" creationId="{DDE809E3-FD24-CB23-A57A-60451D9D2FB4}"/>
          </ac:spMkLst>
        </pc:spChg>
        <pc:spChg chg="mod">
          <ac:chgData name="Josef Noll" userId="S::jnoll@uio.no::47bf06be-f1ff-4076-9d25-ef324fefca66" providerId="AD" clId="Web-{62574E31-2BF3-4418-A964-9A5135F01C53}" dt="2022-04-21T11:53:05.430" v="145" actId="20577"/>
          <ac:spMkLst>
            <pc:docMk/>
            <pc:sldMk cId="1523784790" sldId="272"/>
            <ac:spMk id="5" creationId="{8248EF82-A256-1BFB-57F3-3501DF723436}"/>
          </ac:spMkLst>
        </pc:spChg>
        <pc:spChg chg="add">
          <ac:chgData name="Josef Noll" userId="S::jnoll@uio.no::47bf06be-f1ff-4076-9d25-ef324fefca66" providerId="AD" clId="Web-{62574E31-2BF3-4418-A964-9A5135F01C53}" dt="2022-04-21T11:52:53.273" v="122"/>
          <ac:spMkLst>
            <pc:docMk/>
            <pc:sldMk cId="1523784790" sldId="272"/>
            <ac:spMk id="6" creationId="{01AE79BC-771F-ECE6-E4F6-88E906B4F9D3}"/>
          </ac:spMkLst>
        </pc:spChg>
      </pc:sldChg>
      <pc:sldChg chg="addSp delSp modSp add replId">
        <pc:chgData name="Josef Noll" userId="S::jnoll@uio.no::47bf06be-f1ff-4076-9d25-ef324fefca66" providerId="AD" clId="Web-{62574E31-2BF3-4418-A964-9A5135F01C53}" dt="2022-04-21T11:59:57.625" v="875" actId="20577"/>
        <pc:sldMkLst>
          <pc:docMk/>
          <pc:sldMk cId="3997630168" sldId="282"/>
        </pc:sldMkLst>
        <pc:spChg chg="mod">
          <ac:chgData name="Josef Noll" userId="S::jnoll@uio.no::47bf06be-f1ff-4076-9d25-ef324fefca66" providerId="AD" clId="Web-{62574E31-2BF3-4418-A964-9A5135F01C53}" dt="2022-04-21T11:59:57.625" v="875" actId="20577"/>
          <ac:spMkLst>
            <pc:docMk/>
            <pc:sldMk cId="3997630168" sldId="282"/>
            <ac:spMk id="2" creationId="{DDE809E3-FD24-CB23-A57A-60451D9D2FB4}"/>
          </ac:spMkLst>
        </pc:spChg>
        <pc:spChg chg="mod">
          <ac:chgData name="Josef Noll" userId="S::jnoll@uio.no::47bf06be-f1ff-4076-9d25-ef324fefca66" providerId="AD" clId="Web-{62574E31-2BF3-4418-A964-9A5135F01C53}" dt="2022-04-21T11:56:10.621" v="501" actId="20577"/>
          <ac:spMkLst>
            <pc:docMk/>
            <pc:sldMk cId="3997630168" sldId="282"/>
            <ac:spMk id="5" creationId="{8248EF82-A256-1BFB-57F3-3501DF723436}"/>
          </ac:spMkLst>
        </pc:spChg>
        <pc:spChg chg="add del">
          <ac:chgData name="Josef Noll" userId="S::jnoll@uio.no::47bf06be-f1ff-4076-9d25-ef324fefca66" providerId="AD" clId="Web-{62574E31-2BF3-4418-A964-9A5135F01C53}" dt="2022-04-21T11:56:22.449" v="505"/>
          <ac:spMkLst>
            <pc:docMk/>
            <pc:sldMk cId="3997630168" sldId="282"/>
            <ac:spMk id="6" creationId="{DC7CF3DE-D291-9ED3-5E02-1A47D63143EB}"/>
          </ac:spMkLst>
        </pc:spChg>
      </pc:sldChg>
    </pc:docChg>
  </pc:docChgLst>
  <pc:docChgLst>
    <pc:chgData name="Josef Noll" userId="S::jnoll@uio.no::47bf06be-f1ff-4076-9d25-ef324fefca66" providerId="AD" clId="Web-{B7BE4946-878C-4500-B32E-F62273AF59D0}"/>
    <pc:docChg chg="modSld">
      <pc:chgData name="Josef Noll" userId="S::jnoll@uio.no::47bf06be-f1ff-4076-9d25-ef324fefca66" providerId="AD" clId="Web-{B7BE4946-878C-4500-B32E-F62273AF59D0}" dt="2022-04-21T13:16:05.298" v="55" actId="20577"/>
      <pc:docMkLst>
        <pc:docMk/>
      </pc:docMkLst>
      <pc:sldChg chg="addSp delSp modSp mod modClrScheme chgLayout">
        <pc:chgData name="Josef Noll" userId="S::jnoll@uio.no::47bf06be-f1ff-4076-9d25-ef324fefca66" providerId="AD" clId="Web-{B7BE4946-878C-4500-B32E-F62273AF59D0}" dt="2022-04-21T13:16:05.298" v="55" actId="20577"/>
        <pc:sldMkLst>
          <pc:docMk/>
          <pc:sldMk cId="3997630168" sldId="282"/>
        </pc:sldMkLst>
        <pc:spChg chg="mod ord">
          <ac:chgData name="Josef Noll" userId="S::jnoll@uio.no::47bf06be-f1ff-4076-9d25-ef324fefca66" providerId="AD" clId="Web-{B7BE4946-878C-4500-B32E-F62273AF59D0}" dt="2022-04-21T13:14:36.137" v="8" actId="14100"/>
          <ac:spMkLst>
            <pc:docMk/>
            <pc:sldMk cId="3997630168" sldId="282"/>
            <ac:spMk id="2" creationId="{DDE809E3-FD24-CB23-A57A-60451D9D2FB4}"/>
          </ac:spMkLst>
        </pc:spChg>
        <pc:spChg chg="add del">
          <ac:chgData name="Josef Noll" userId="S::jnoll@uio.no::47bf06be-f1ff-4076-9d25-ef324fefca66" providerId="AD" clId="Web-{B7BE4946-878C-4500-B32E-F62273AF59D0}" dt="2022-04-21T13:14:16.230" v="5"/>
          <ac:spMkLst>
            <pc:docMk/>
            <pc:sldMk cId="3997630168" sldId="282"/>
            <ac:spMk id="3" creationId="{89D63821-2F41-5679-A1B8-15232879A4E4}"/>
          </ac:spMkLst>
        </pc:spChg>
        <pc:spChg chg="mod">
          <ac:chgData name="Josef Noll" userId="S::jnoll@uio.no::47bf06be-f1ff-4076-9d25-ef324fefca66" providerId="AD" clId="Web-{B7BE4946-878C-4500-B32E-F62273AF59D0}" dt="2022-04-21T13:14:16.230" v="5"/>
          <ac:spMkLst>
            <pc:docMk/>
            <pc:sldMk cId="3997630168" sldId="282"/>
            <ac:spMk id="4" creationId="{0E7AE726-FFCF-10AF-8FCE-2AF8CD074890}"/>
          </ac:spMkLst>
        </pc:spChg>
        <pc:spChg chg="mod">
          <ac:chgData name="Josef Noll" userId="S::jnoll@uio.no::47bf06be-f1ff-4076-9d25-ef324fefca66" providerId="AD" clId="Web-{B7BE4946-878C-4500-B32E-F62273AF59D0}" dt="2022-04-21T13:14:16.230" v="5"/>
          <ac:spMkLst>
            <pc:docMk/>
            <pc:sldMk cId="3997630168" sldId="282"/>
            <ac:spMk id="5" creationId="{8248EF82-A256-1BFB-57F3-3501DF723436}"/>
          </ac:spMkLst>
        </pc:spChg>
        <pc:spChg chg="add mod">
          <ac:chgData name="Josef Noll" userId="S::jnoll@uio.no::47bf06be-f1ff-4076-9d25-ef324fefca66" providerId="AD" clId="Web-{B7BE4946-878C-4500-B32E-F62273AF59D0}" dt="2022-04-21T13:15:31.656" v="43" actId="20577"/>
          <ac:spMkLst>
            <pc:docMk/>
            <pc:sldMk cId="3997630168" sldId="282"/>
            <ac:spMk id="7" creationId="{00A81485-72C3-8D8F-204D-74C37C919E82}"/>
          </ac:spMkLst>
        </pc:spChg>
        <pc:spChg chg="add del mod">
          <ac:chgData name="Josef Noll" userId="S::jnoll@uio.no::47bf06be-f1ff-4076-9d25-ef324fefca66" providerId="AD" clId="Web-{B7BE4946-878C-4500-B32E-F62273AF59D0}" dt="2022-04-21T13:14:16.214" v="4"/>
          <ac:spMkLst>
            <pc:docMk/>
            <pc:sldMk cId="3997630168" sldId="282"/>
            <ac:spMk id="11" creationId="{876EB49F-BC95-8503-8D92-37EB06C9CA59}"/>
          </ac:spMkLst>
        </pc:spChg>
        <pc:spChg chg="add del mod">
          <ac:chgData name="Josef Noll" userId="S::jnoll@uio.no::47bf06be-f1ff-4076-9d25-ef324fefca66" providerId="AD" clId="Web-{B7BE4946-878C-4500-B32E-F62273AF59D0}" dt="2022-04-21T13:14:16.214" v="4"/>
          <ac:spMkLst>
            <pc:docMk/>
            <pc:sldMk cId="3997630168" sldId="282"/>
            <ac:spMk id="13" creationId="{442AE2E8-D98D-CAEA-4660-EFE777F8891B}"/>
          </ac:spMkLst>
        </pc:spChg>
        <pc:spChg chg="add del mod">
          <ac:chgData name="Josef Noll" userId="S::jnoll@uio.no::47bf06be-f1ff-4076-9d25-ef324fefca66" providerId="AD" clId="Web-{B7BE4946-878C-4500-B32E-F62273AF59D0}" dt="2022-04-21T13:14:16.214" v="4"/>
          <ac:spMkLst>
            <pc:docMk/>
            <pc:sldMk cId="3997630168" sldId="282"/>
            <ac:spMk id="15" creationId="{DDDBF70E-9703-D502-B233-D3151FBFF555}"/>
          </ac:spMkLst>
        </pc:spChg>
        <pc:spChg chg="add mod">
          <ac:chgData name="Josef Noll" userId="S::jnoll@uio.no::47bf06be-f1ff-4076-9d25-ef324fefca66" providerId="AD" clId="Web-{B7BE4946-878C-4500-B32E-F62273AF59D0}" dt="2022-04-21T13:15:44.688" v="44" actId="1076"/>
          <ac:spMkLst>
            <pc:docMk/>
            <pc:sldMk cId="3997630168" sldId="282"/>
            <ac:spMk id="17" creationId="{38C0E687-663C-FF6A-6683-0DB041A06744}"/>
          </ac:spMkLst>
        </pc:spChg>
        <pc:spChg chg="add mod">
          <ac:chgData name="Josef Noll" userId="S::jnoll@uio.no::47bf06be-f1ff-4076-9d25-ef324fefca66" providerId="AD" clId="Web-{B7BE4946-878C-4500-B32E-F62273AF59D0}" dt="2022-04-21T13:16:05.298" v="55" actId="20577"/>
          <ac:spMkLst>
            <pc:docMk/>
            <pc:sldMk cId="3997630168" sldId="282"/>
            <ac:spMk id="18" creationId="{B8A7A08F-65B0-5820-C87D-02E38AE8350A}"/>
          </ac:spMkLst>
        </pc:spChg>
        <pc:spChg chg="add del mod">
          <ac:chgData name="Josef Noll" userId="S::jnoll@uio.no::47bf06be-f1ff-4076-9d25-ef324fefca66" providerId="AD" clId="Web-{B7BE4946-878C-4500-B32E-F62273AF59D0}" dt="2022-04-21T13:14:25.684" v="6"/>
          <ac:spMkLst>
            <pc:docMk/>
            <pc:sldMk cId="3997630168" sldId="282"/>
            <ac:spMk id="19" creationId="{5C8EBEB0-36F8-98A4-DE3A-1B231A1610FA}"/>
          </ac:spMkLst>
        </pc:spChg>
        <pc:picChg chg="add mod ord">
          <ac:chgData name="Josef Noll" userId="S::jnoll@uio.no::47bf06be-f1ff-4076-9d25-ef324fefca66" providerId="AD" clId="Web-{B7BE4946-878C-4500-B32E-F62273AF59D0}" dt="2022-04-21T13:14:48.154" v="10" actId="1076"/>
          <ac:picMkLst>
            <pc:docMk/>
            <pc:sldMk cId="3997630168" sldId="282"/>
            <ac:picMk id="6" creationId="{3BDEA786-6355-5341-0A83-84A1C7863F89}"/>
          </ac:picMkLst>
        </pc:picChg>
      </pc:sldChg>
    </pc:docChg>
  </pc:docChgLst>
  <pc:docChgLst>
    <pc:chgData name="Josef Noll" userId="S::jnoll@uio.no::47bf06be-f1ff-4076-9d25-ef324fefca66" providerId="AD" clId="Web-{6974181F-99DE-47B1-86E0-592363DE8C19}"/>
    <pc:docChg chg="modSld">
      <pc:chgData name="Josef Noll" userId="S::jnoll@uio.no::47bf06be-f1ff-4076-9d25-ef324fefca66" providerId="AD" clId="Web-{6974181F-99DE-47B1-86E0-592363DE8C19}" dt="2022-04-21T13:22:13.364" v="4" actId="14100"/>
      <pc:docMkLst>
        <pc:docMk/>
      </pc:docMkLst>
      <pc:sldChg chg="addSp delSp modSp">
        <pc:chgData name="Josef Noll" userId="S::jnoll@uio.no::47bf06be-f1ff-4076-9d25-ef324fefca66" providerId="AD" clId="Web-{6974181F-99DE-47B1-86E0-592363DE8C19}" dt="2022-04-21T13:22:13.364" v="4" actId="14100"/>
        <pc:sldMkLst>
          <pc:docMk/>
          <pc:sldMk cId="3997630168" sldId="282"/>
        </pc:sldMkLst>
        <pc:picChg chg="add mod">
          <ac:chgData name="Josef Noll" userId="S::jnoll@uio.no::47bf06be-f1ff-4076-9d25-ef324fefca66" providerId="AD" clId="Web-{6974181F-99DE-47B1-86E0-592363DE8C19}" dt="2022-04-21T13:22:13.364" v="4" actId="14100"/>
          <ac:picMkLst>
            <pc:docMk/>
            <pc:sldMk cId="3997630168" sldId="282"/>
            <ac:picMk id="3" creationId="{5553D132-859A-65EC-D34C-C50A40C7572E}"/>
          </ac:picMkLst>
        </pc:picChg>
        <pc:picChg chg="del">
          <ac:chgData name="Josef Noll" userId="S::jnoll@uio.no::47bf06be-f1ff-4076-9d25-ef324fefca66" providerId="AD" clId="Web-{6974181F-99DE-47B1-86E0-592363DE8C19}" dt="2022-04-21T13:21:57.551" v="0"/>
          <ac:picMkLst>
            <pc:docMk/>
            <pc:sldMk cId="3997630168" sldId="282"/>
            <ac:picMk id="6" creationId="{3BDEA786-6355-5341-0A83-84A1C7863F89}"/>
          </ac:picMkLst>
        </pc:picChg>
      </pc:sldChg>
    </pc:docChg>
  </pc:docChgLst>
  <pc:docChgLst>
    <pc:chgData name="Kaja Mosserud-Haavardsholm" userId="S::kajaem@uio.no::73941e72-4895-4094-a4d2-92012810311f" providerId="AD" clId="Web-{B5CD4336-9267-42BC-820D-AEF47892EC17}"/>
    <pc:docChg chg="modSld">
      <pc:chgData name="Kaja Mosserud-Haavardsholm" userId="S::kajaem@uio.no::73941e72-4895-4094-a4d2-92012810311f" providerId="AD" clId="Web-{B5CD4336-9267-42BC-820D-AEF47892EC17}" dt="2022-04-18T13:14:10.795" v="12"/>
      <pc:docMkLst>
        <pc:docMk/>
      </pc:docMkLst>
      <pc:sldChg chg="addSp delSp modSp">
        <pc:chgData name="Kaja Mosserud-Haavardsholm" userId="S::kajaem@uio.no::73941e72-4895-4094-a4d2-92012810311f" providerId="AD" clId="Web-{B5CD4336-9267-42BC-820D-AEF47892EC17}" dt="2022-04-18T13:14:10.795" v="12"/>
        <pc:sldMkLst>
          <pc:docMk/>
          <pc:sldMk cId="2398878348" sldId="263"/>
        </pc:sldMkLst>
        <pc:spChg chg="add del mod">
          <ac:chgData name="Kaja Mosserud-Haavardsholm" userId="S::kajaem@uio.no::73941e72-4895-4094-a4d2-92012810311f" providerId="AD" clId="Web-{B5CD4336-9267-42BC-820D-AEF47892EC17}" dt="2022-04-18T13:14:10.795" v="12"/>
          <ac:spMkLst>
            <pc:docMk/>
            <pc:sldMk cId="2398878348" sldId="263"/>
            <ac:spMk id="6" creationId="{E923AB96-85B8-C2AB-0BC6-88D7CD1F9F78}"/>
          </ac:spMkLst>
        </pc:spChg>
        <pc:spChg chg="mod">
          <ac:chgData name="Kaja Mosserud-Haavardsholm" userId="S::kajaem@uio.no::73941e72-4895-4094-a4d2-92012810311f" providerId="AD" clId="Web-{B5CD4336-9267-42BC-820D-AEF47892EC17}" dt="2022-04-18T13:13:14.059" v="7" actId="20577"/>
          <ac:spMkLst>
            <pc:docMk/>
            <pc:sldMk cId="2398878348" sldId="263"/>
            <ac:spMk id="7" creationId="{0B61E3DA-F973-4531-AB15-8355D4BAF111}"/>
          </ac:spMkLst>
        </pc:spChg>
        <pc:spChg chg="add del">
          <ac:chgData name="Kaja Mosserud-Haavardsholm" userId="S::kajaem@uio.no::73941e72-4895-4094-a4d2-92012810311f" providerId="AD" clId="Web-{B5CD4336-9267-42BC-820D-AEF47892EC17}" dt="2022-04-18T13:14:05.404" v="10"/>
          <ac:spMkLst>
            <pc:docMk/>
            <pc:sldMk cId="2398878348" sldId="263"/>
            <ac:spMk id="8" creationId="{86115D58-A85C-FE06-A39F-4E24D525C1E8}"/>
          </ac:spMkLst>
        </pc:spChg>
      </pc:sldChg>
    </pc:docChg>
  </pc:docChgLst>
  <pc:docChgLst>
    <pc:chgData name="Kaja Mosserud-Haavardsholm" userId="S::kajaem@uio.no::73941e72-4895-4094-a4d2-92012810311f" providerId="AD" clId="Web-{674BCF54-FD8E-4565-AF69-558D5FF9DB57}"/>
    <pc:docChg chg="modSld">
      <pc:chgData name="Kaja Mosserud-Haavardsholm" userId="S::kajaem@uio.no::73941e72-4895-4094-a4d2-92012810311f" providerId="AD" clId="Web-{674BCF54-FD8E-4565-AF69-558D5FF9DB57}" dt="2022-04-18T13:31:52.106" v="1"/>
      <pc:docMkLst>
        <pc:docMk/>
      </pc:docMkLst>
      <pc:sldChg chg="addSp delSp">
        <pc:chgData name="Kaja Mosserud-Haavardsholm" userId="S::kajaem@uio.no::73941e72-4895-4094-a4d2-92012810311f" providerId="AD" clId="Web-{674BCF54-FD8E-4565-AF69-558D5FF9DB57}" dt="2022-04-18T13:31:52.106" v="1"/>
        <pc:sldMkLst>
          <pc:docMk/>
          <pc:sldMk cId="2398878348" sldId="263"/>
        </pc:sldMkLst>
        <pc:spChg chg="add del">
          <ac:chgData name="Kaja Mosserud-Haavardsholm" userId="S::kajaem@uio.no::73941e72-4895-4094-a4d2-92012810311f" providerId="AD" clId="Web-{674BCF54-FD8E-4565-AF69-558D5FF9DB57}" dt="2022-04-18T13:31:52.106" v="1"/>
          <ac:spMkLst>
            <pc:docMk/>
            <pc:sldMk cId="2398878348" sldId="263"/>
            <ac:spMk id="6" creationId="{4A901EA7-C679-43E0-9356-772F2E2309BB}"/>
          </ac:spMkLst>
        </pc:spChg>
      </pc:sldChg>
    </pc:docChg>
  </pc:docChgLst>
  <pc:docChgLst>
    <pc:chgData name="Cecilie Rolstad Denby" userId="S::cecilero@uio.no::3da6dd35-3bc2-447b-90f9-84bc16b34c1f" providerId="AD" clId="Web-{0545D9B4-6F16-F21E-BAA0-A2F9CF42D2D9}"/>
    <pc:docChg chg="modSld">
      <pc:chgData name="Cecilie Rolstad Denby" userId="S::cecilero@uio.no::3da6dd35-3bc2-447b-90f9-84bc16b34c1f" providerId="AD" clId="Web-{0545D9B4-6F16-F21E-BAA0-A2F9CF42D2D9}" dt="2022-04-19T10:58:45.641" v="406" actId="20577"/>
      <pc:docMkLst>
        <pc:docMk/>
      </pc:docMkLst>
      <pc:sldChg chg="modSp">
        <pc:chgData name="Cecilie Rolstad Denby" userId="S::cecilero@uio.no::3da6dd35-3bc2-447b-90f9-84bc16b34c1f" providerId="AD" clId="Web-{0545D9B4-6F16-F21E-BAA0-A2F9CF42D2D9}" dt="2022-04-19T10:48:02.031" v="104" actId="20577"/>
        <pc:sldMkLst>
          <pc:docMk/>
          <pc:sldMk cId="3854075043" sldId="267"/>
        </pc:sldMkLst>
        <pc:spChg chg="mod">
          <ac:chgData name="Cecilie Rolstad Denby" userId="S::cecilero@uio.no::3da6dd35-3bc2-447b-90f9-84bc16b34c1f" providerId="AD" clId="Web-{0545D9B4-6F16-F21E-BAA0-A2F9CF42D2D9}" dt="2022-04-19T10:48:02.031" v="104" actId="20577"/>
          <ac:spMkLst>
            <pc:docMk/>
            <pc:sldMk cId="3854075043" sldId="267"/>
            <ac:spMk id="2" creationId="{00000000-0000-0000-0000-000000000000}"/>
          </ac:spMkLst>
        </pc:spChg>
      </pc:sldChg>
      <pc:sldChg chg="modSp">
        <pc:chgData name="Cecilie Rolstad Denby" userId="S::cecilero@uio.no::3da6dd35-3bc2-447b-90f9-84bc16b34c1f" providerId="AD" clId="Web-{0545D9B4-6F16-F21E-BAA0-A2F9CF42D2D9}" dt="2022-04-19T10:36:02.280" v="2" actId="20577"/>
        <pc:sldMkLst>
          <pc:docMk/>
          <pc:sldMk cId="3171029722" sldId="268"/>
        </pc:sldMkLst>
        <pc:spChg chg="mod">
          <ac:chgData name="Cecilie Rolstad Denby" userId="S::cecilero@uio.no::3da6dd35-3bc2-447b-90f9-84bc16b34c1f" providerId="AD" clId="Web-{0545D9B4-6F16-F21E-BAA0-A2F9CF42D2D9}" dt="2022-04-19T10:36:02.280" v="2" actId="20577"/>
          <ac:spMkLst>
            <pc:docMk/>
            <pc:sldMk cId="3171029722" sldId="268"/>
            <ac:spMk id="2" creationId="{00000000-0000-0000-0000-000000000000}"/>
          </ac:spMkLst>
        </pc:spChg>
      </pc:sldChg>
      <pc:sldChg chg="modSp">
        <pc:chgData name="Cecilie Rolstad Denby" userId="S::cecilero@uio.no::3da6dd35-3bc2-447b-90f9-84bc16b34c1f" providerId="AD" clId="Web-{0545D9B4-6F16-F21E-BAA0-A2F9CF42D2D9}" dt="2022-04-19T10:58:45.641" v="406" actId="20577"/>
        <pc:sldMkLst>
          <pc:docMk/>
          <pc:sldMk cId="3382128355" sldId="269"/>
        </pc:sldMkLst>
        <pc:spChg chg="mod">
          <ac:chgData name="Cecilie Rolstad Denby" userId="S::cecilero@uio.no::3da6dd35-3bc2-447b-90f9-84bc16b34c1f" providerId="AD" clId="Web-{0545D9B4-6F16-F21E-BAA0-A2F9CF42D2D9}" dt="2022-04-19T10:58:45.641" v="406" actId="20577"/>
          <ac:spMkLst>
            <pc:docMk/>
            <pc:sldMk cId="3382128355" sldId="269"/>
            <ac:spMk id="2" creationId="{00000000-0000-0000-0000-000000000000}"/>
          </ac:spMkLst>
        </pc:spChg>
      </pc:sldChg>
      <pc:sldChg chg="modSp">
        <pc:chgData name="Cecilie Rolstad Denby" userId="S::cecilero@uio.no::3da6dd35-3bc2-447b-90f9-84bc16b34c1f" providerId="AD" clId="Web-{0545D9B4-6F16-F21E-BAA0-A2F9CF42D2D9}" dt="2022-04-19T10:43:51.807" v="85" actId="20577"/>
        <pc:sldMkLst>
          <pc:docMk/>
          <pc:sldMk cId="1082874148" sldId="270"/>
        </pc:sldMkLst>
        <pc:spChg chg="mod">
          <ac:chgData name="Cecilie Rolstad Denby" userId="S::cecilero@uio.no::3da6dd35-3bc2-447b-90f9-84bc16b34c1f" providerId="AD" clId="Web-{0545D9B4-6F16-F21E-BAA0-A2F9CF42D2D9}" dt="2022-04-19T10:43:51.807" v="85" actId="20577"/>
          <ac:spMkLst>
            <pc:docMk/>
            <pc:sldMk cId="1082874148" sldId="270"/>
            <ac:spMk id="2" creationId="{00000000-0000-0000-0000-000000000000}"/>
          </ac:spMkLst>
        </pc:spChg>
      </pc:sldChg>
      <pc:sldChg chg="modSp">
        <pc:chgData name="Cecilie Rolstad Denby" userId="S::cecilero@uio.no::3da6dd35-3bc2-447b-90f9-84bc16b34c1f" providerId="AD" clId="Web-{0545D9B4-6F16-F21E-BAA0-A2F9CF42D2D9}" dt="2022-04-19T10:56:25.216" v="368" actId="20577"/>
        <pc:sldMkLst>
          <pc:docMk/>
          <pc:sldMk cId="2682814648" sldId="271"/>
        </pc:sldMkLst>
        <pc:spChg chg="mod">
          <ac:chgData name="Cecilie Rolstad Denby" userId="S::cecilero@uio.no::3da6dd35-3bc2-447b-90f9-84bc16b34c1f" providerId="AD" clId="Web-{0545D9B4-6F16-F21E-BAA0-A2F9CF42D2D9}" dt="2022-04-19T10:56:25.216" v="368" actId="20577"/>
          <ac:spMkLst>
            <pc:docMk/>
            <pc:sldMk cId="2682814648" sldId="271"/>
            <ac:spMk id="2" creationId="{00000000-0000-0000-0000-000000000000}"/>
          </ac:spMkLst>
        </pc:spChg>
      </pc:sldChg>
    </pc:docChg>
  </pc:docChgLst>
  <pc:docChgLst>
    <pc:chgData name="Cecilie Rolstad Denby" userId="S::cecilero@uio.no::3da6dd35-3bc2-447b-90f9-84bc16b34c1f" providerId="AD" clId="Web-{24658D6D-903C-4AF7-2EBC-229DF9911E9E}"/>
    <pc:docChg chg="addSld delSld modSld">
      <pc:chgData name="Cecilie Rolstad Denby" userId="S::cecilero@uio.no::3da6dd35-3bc2-447b-90f9-84bc16b34c1f" providerId="AD" clId="Web-{24658D6D-903C-4AF7-2EBC-229DF9911E9E}" dt="2022-04-20T12:13:37.771" v="529"/>
      <pc:docMkLst>
        <pc:docMk/>
      </pc:docMkLst>
      <pc:sldChg chg="addSp delSp modSp mod modClrScheme chgLayout">
        <pc:chgData name="Cecilie Rolstad Denby" userId="S::cecilero@uio.no::3da6dd35-3bc2-447b-90f9-84bc16b34c1f" providerId="AD" clId="Web-{24658D6D-903C-4AF7-2EBC-229DF9911E9E}" dt="2022-04-20T11:42:55.818" v="434" actId="20577"/>
        <pc:sldMkLst>
          <pc:docMk/>
          <pc:sldMk cId="3854075043" sldId="267"/>
        </pc:sldMkLst>
        <pc:spChg chg="mod ord">
          <ac:chgData name="Cecilie Rolstad Denby" userId="S::cecilero@uio.no::3da6dd35-3bc2-447b-90f9-84bc16b34c1f" providerId="AD" clId="Web-{24658D6D-903C-4AF7-2EBC-229DF9911E9E}" dt="2022-04-20T11:42:55.818" v="434" actId="20577"/>
          <ac:spMkLst>
            <pc:docMk/>
            <pc:sldMk cId="3854075043" sldId="267"/>
            <ac:spMk id="2" creationId="{00000000-0000-0000-0000-000000000000}"/>
          </ac:spMkLst>
        </pc:spChg>
        <pc:spChg chg="mod">
          <ac:chgData name="Cecilie Rolstad Denby" userId="S::cecilero@uio.no::3da6dd35-3bc2-447b-90f9-84bc16b34c1f" providerId="AD" clId="Web-{24658D6D-903C-4AF7-2EBC-229DF9911E9E}" dt="2022-04-20T11:42:20.583" v="429"/>
          <ac:spMkLst>
            <pc:docMk/>
            <pc:sldMk cId="3854075043" sldId="267"/>
            <ac:spMk id="3" creationId="{00000000-0000-0000-0000-000000000000}"/>
          </ac:spMkLst>
        </pc:spChg>
        <pc:spChg chg="mod">
          <ac:chgData name="Cecilie Rolstad Denby" userId="S::cecilero@uio.no::3da6dd35-3bc2-447b-90f9-84bc16b34c1f" providerId="AD" clId="Web-{24658D6D-903C-4AF7-2EBC-229DF9911E9E}" dt="2022-04-20T11:42:20.583" v="429"/>
          <ac:spMkLst>
            <pc:docMk/>
            <pc:sldMk cId="3854075043" sldId="267"/>
            <ac:spMk id="4" creationId="{00000000-0000-0000-0000-000000000000}"/>
          </ac:spMkLst>
        </pc:spChg>
        <pc:spChg chg="mod">
          <ac:chgData name="Cecilie Rolstad Denby" userId="S::cecilero@uio.no::3da6dd35-3bc2-447b-90f9-84bc16b34c1f" providerId="AD" clId="Web-{24658D6D-903C-4AF7-2EBC-229DF9911E9E}" dt="2022-04-20T11:42:34.942" v="431" actId="14100"/>
          <ac:spMkLst>
            <pc:docMk/>
            <pc:sldMk cId="3854075043" sldId="267"/>
            <ac:spMk id="5" creationId="{00000000-0000-0000-0000-000000000000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2:20.567" v="428"/>
          <ac:spMkLst>
            <pc:docMk/>
            <pc:sldMk cId="3854075043" sldId="267"/>
            <ac:spMk id="8" creationId="{C869D14A-B031-D1C3-C1B0-6E63FB72E8D2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2:20.567" v="428"/>
          <ac:spMkLst>
            <pc:docMk/>
            <pc:sldMk cId="3854075043" sldId="267"/>
            <ac:spMk id="9" creationId="{83C726BD-777F-DC16-345A-FE1C7E66C8BB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30:43.633" v="324"/>
          <ac:spMkLst>
            <pc:docMk/>
            <pc:sldMk cId="3854075043" sldId="267"/>
            <ac:spMk id="11" creationId="{5DC61B5E-4202-7629-7CB6-3751B2FBD3BA}"/>
          </ac:spMkLst>
        </pc:spChg>
        <pc:spChg chg="add mod">
          <ac:chgData name="Cecilie Rolstad Denby" userId="S::cecilero@uio.no::3da6dd35-3bc2-447b-90f9-84bc16b34c1f" providerId="AD" clId="Web-{24658D6D-903C-4AF7-2EBC-229DF9911E9E}" dt="2022-04-20T11:42:20.583" v="429"/>
          <ac:spMkLst>
            <pc:docMk/>
            <pc:sldMk cId="3854075043" sldId="267"/>
            <ac:spMk id="12" creationId="{E6F596BE-ABEC-58B0-E476-361DC92D464D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30:43.633" v="324"/>
          <ac:spMkLst>
            <pc:docMk/>
            <pc:sldMk cId="3854075043" sldId="267"/>
            <ac:spMk id="13" creationId="{A71978A6-A5D6-BE7E-9492-88E177F7DEBA}"/>
          </ac:spMkLst>
        </pc:spChg>
        <pc:spChg chg="add mod">
          <ac:chgData name="Cecilie Rolstad Denby" userId="S::cecilero@uio.no::3da6dd35-3bc2-447b-90f9-84bc16b34c1f" providerId="AD" clId="Web-{24658D6D-903C-4AF7-2EBC-229DF9911E9E}" dt="2022-04-20T11:42:20.583" v="429"/>
          <ac:spMkLst>
            <pc:docMk/>
            <pc:sldMk cId="3854075043" sldId="267"/>
            <ac:spMk id="14" creationId="{D39D4E81-46C1-1738-C906-CDB9B01A87EF}"/>
          </ac:spMkLst>
        </pc:spChg>
        <pc:picChg chg="add mod ord">
          <ac:chgData name="Cecilie Rolstad Denby" userId="S::cecilero@uio.no::3da6dd35-3bc2-447b-90f9-84bc16b34c1f" providerId="AD" clId="Web-{24658D6D-903C-4AF7-2EBC-229DF9911E9E}" dt="2022-04-20T11:42:42.770" v="432" actId="1076"/>
          <ac:picMkLst>
            <pc:docMk/>
            <pc:sldMk cId="3854075043" sldId="267"/>
            <ac:picMk id="6" creationId="{5A11F4C4-DBDC-DB1C-ACE7-6BD1DCAE7DDF}"/>
          </ac:picMkLst>
        </pc:picChg>
      </pc:sldChg>
      <pc:sldChg chg="addSp delSp modSp">
        <pc:chgData name="Cecilie Rolstad Denby" userId="S::cecilero@uio.no::3da6dd35-3bc2-447b-90f9-84bc16b34c1f" providerId="AD" clId="Web-{24658D6D-903C-4AF7-2EBC-229DF9911E9E}" dt="2022-04-20T11:23:59.408" v="299" actId="1076"/>
        <pc:sldMkLst>
          <pc:docMk/>
          <pc:sldMk cId="3171029722" sldId="268"/>
        </pc:sldMkLst>
        <pc:spChg chg="mod">
          <ac:chgData name="Cecilie Rolstad Denby" userId="S::cecilero@uio.no::3da6dd35-3bc2-447b-90f9-84bc16b34c1f" providerId="AD" clId="Web-{24658D6D-903C-4AF7-2EBC-229DF9911E9E}" dt="2022-04-20T11:23:48.642" v="297" actId="1076"/>
          <ac:spMkLst>
            <pc:docMk/>
            <pc:sldMk cId="3171029722" sldId="268"/>
            <ac:spMk id="2" creationId="{00000000-0000-0000-0000-000000000000}"/>
          </ac:spMkLst>
        </pc:spChg>
        <pc:picChg chg="add del mod">
          <ac:chgData name="Cecilie Rolstad Denby" userId="S::cecilero@uio.no::3da6dd35-3bc2-447b-90f9-84bc16b34c1f" providerId="AD" clId="Web-{24658D6D-903C-4AF7-2EBC-229DF9911E9E}" dt="2022-04-20T10:51:16.030" v="5"/>
          <ac:picMkLst>
            <pc:docMk/>
            <pc:sldMk cId="3171029722" sldId="268"/>
            <ac:picMk id="6" creationId="{26E57B26-BC68-0CF9-7E27-CFB586FBD5CD}"/>
          </ac:picMkLst>
        </pc:picChg>
        <pc:picChg chg="add mod">
          <ac:chgData name="Cecilie Rolstad Denby" userId="S::cecilero@uio.no::3da6dd35-3bc2-447b-90f9-84bc16b34c1f" providerId="AD" clId="Web-{24658D6D-903C-4AF7-2EBC-229DF9911E9E}" dt="2022-04-20T10:51:21.046" v="7" actId="14100"/>
          <ac:picMkLst>
            <pc:docMk/>
            <pc:sldMk cId="3171029722" sldId="268"/>
            <ac:picMk id="7" creationId="{C2DA8B5F-E890-A8ED-2289-474B80758D5A}"/>
          </ac:picMkLst>
        </pc:picChg>
        <pc:picChg chg="add mod modCrop">
          <ac:chgData name="Cecilie Rolstad Denby" userId="S::cecilero@uio.no::3da6dd35-3bc2-447b-90f9-84bc16b34c1f" providerId="AD" clId="Web-{24658D6D-903C-4AF7-2EBC-229DF9911E9E}" dt="2022-04-20T11:23:59.408" v="299" actId="1076"/>
          <ac:picMkLst>
            <pc:docMk/>
            <pc:sldMk cId="3171029722" sldId="268"/>
            <ac:picMk id="8" creationId="{3DFE6A45-1069-130B-DA0A-4295B1D8AE2F}"/>
          </ac:picMkLst>
        </pc:picChg>
      </pc:sldChg>
      <pc:sldChg chg="modSp">
        <pc:chgData name="Cecilie Rolstad Denby" userId="S::cecilero@uio.no::3da6dd35-3bc2-447b-90f9-84bc16b34c1f" providerId="AD" clId="Web-{24658D6D-903C-4AF7-2EBC-229DF9911E9E}" dt="2022-04-20T11:49:45.387" v="462" actId="1076"/>
        <pc:sldMkLst>
          <pc:docMk/>
          <pc:sldMk cId="3382128355" sldId="269"/>
        </pc:sldMkLst>
        <pc:spChg chg="mod">
          <ac:chgData name="Cecilie Rolstad Denby" userId="S::cecilero@uio.no::3da6dd35-3bc2-447b-90f9-84bc16b34c1f" providerId="AD" clId="Web-{24658D6D-903C-4AF7-2EBC-229DF9911E9E}" dt="2022-04-20T11:49:45.387" v="462" actId="1076"/>
          <ac:spMkLst>
            <pc:docMk/>
            <pc:sldMk cId="3382128355" sldId="269"/>
            <ac:spMk id="2" creationId="{00000000-0000-0000-0000-000000000000}"/>
          </ac:spMkLst>
        </pc:spChg>
        <pc:spChg chg="mod">
          <ac:chgData name="Cecilie Rolstad Denby" userId="S::cecilero@uio.no::3da6dd35-3bc2-447b-90f9-84bc16b34c1f" providerId="AD" clId="Web-{24658D6D-903C-4AF7-2EBC-229DF9911E9E}" dt="2022-04-20T11:44:02.131" v="436" actId="1076"/>
          <ac:spMkLst>
            <pc:docMk/>
            <pc:sldMk cId="3382128355" sldId="269"/>
            <ac:spMk id="5" creationId="{00000000-0000-0000-0000-000000000000}"/>
          </ac:spMkLst>
        </pc:spChg>
      </pc:sldChg>
      <pc:sldChg chg="addSp modSp">
        <pc:chgData name="Cecilie Rolstad Denby" userId="S::cecilero@uio.no::3da6dd35-3bc2-447b-90f9-84bc16b34c1f" providerId="AD" clId="Web-{24658D6D-903C-4AF7-2EBC-229DF9911E9E}" dt="2022-04-20T11:26:03.519" v="302" actId="14100"/>
        <pc:sldMkLst>
          <pc:docMk/>
          <pc:sldMk cId="1082874148" sldId="270"/>
        </pc:sldMkLst>
        <pc:picChg chg="add mod">
          <ac:chgData name="Cecilie Rolstad Denby" userId="S::cecilero@uio.no::3da6dd35-3bc2-447b-90f9-84bc16b34c1f" providerId="AD" clId="Web-{24658D6D-903C-4AF7-2EBC-229DF9911E9E}" dt="2022-04-20T11:26:03.519" v="302" actId="14100"/>
          <ac:picMkLst>
            <pc:docMk/>
            <pc:sldMk cId="1082874148" sldId="270"/>
            <ac:picMk id="6" creationId="{42B4A605-BC2D-AADF-97B4-099AD72AA9F1}"/>
          </ac:picMkLst>
        </pc:picChg>
      </pc:sldChg>
      <pc:sldChg chg="addSp modSp">
        <pc:chgData name="Cecilie Rolstad Denby" userId="S::cecilero@uio.no::3da6dd35-3bc2-447b-90f9-84bc16b34c1f" providerId="AD" clId="Web-{24658D6D-903C-4AF7-2EBC-229DF9911E9E}" dt="2022-04-20T11:53:20.344" v="466" actId="14100"/>
        <pc:sldMkLst>
          <pc:docMk/>
          <pc:sldMk cId="2682814648" sldId="271"/>
        </pc:sldMkLst>
        <pc:spChg chg="mod">
          <ac:chgData name="Cecilie Rolstad Denby" userId="S::cecilero@uio.no::3da6dd35-3bc2-447b-90f9-84bc16b34c1f" providerId="AD" clId="Web-{24658D6D-903C-4AF7-2EBC-229DF9911E9E}" dt="2022-04-20T11:53:20.344" v="466" actId="14100"/>
          <ac:spMkLst>
            <pc:docMk/>
            <pc:sldMk cId="2682814648" sldId="271"/>
            <ac:spMk id="2" creationId="{00000000-0000-0000-0000-000000000000}"/>
          </ac:spMkLst>
        </pc:spChg>
        <pc:picChg chg="add mod">
          <ac:chgData name="Cecilie Rolstad Denby" userId="S::cecilero@uio.no::3da6dd35-3bc2-447b-90f9-84bc16b34c1f" providerId="AD" clId="Web-{24658D6D-903C-4AF7-2EBC-229DF9911E9E}" dt="2022-04-20T11:12:01.395" v="233" actId="1076"/>
          <ac:picMkLst>
            <pc:docMk/>
            <pc:sldMk cId="2682814648" sldId="271"/>
            <ac:picMk id="6" creationId="{780AF414-0211-6510-2007-32D6A22DE375}"/>
          </ac:picMkLst>
        </pc:picChg>
        <pc:picChg chg="add mod">
          <ac:chgData name="Cecilie Rolstad Denby" userId="S::cecilero@uio.no::3da6dd35-3bc2-447b-90f9-84bc16b34c1f" providerId="AD" clId="Web-{24658D6D-903C-4AF7-2EBC-229DF9911E9E}" dt="2022-04-20T11:53:07.797" v="464" actId="1076"/>
          <ac:picMkLst>
            <pc:docMk/>
            <pc:sldMk cId="2682814648" sldId="271"/>
            <ac:picMk id="7" creationId="{BBB1D631-C484-33D1-7277-FC2F8058F39F}"/>
          </ac:picMkLst>
        </pc:picChg>
        <pc:picChg chg="add mod ord">
          <ac:chgData name="Cecilie Rolstad Denby" userId="S::cecilero@uio.no::3da6dd35-3bc2-447b-90f9-84bc16b34c1f" providerId="AD" clId="Web-{24658D6D-903C-4AF7-2EBC-229DF9911E9E}" dt="2022-04-20T11:11:41.833" v="226" actId="14100"/>
          <ac:picMkLst>
            <pc:docMk/>
            <pc:sldMk cId="2682814648" sldId="271"/>
            <ac:picMk id="8" creationId="{AA7E4292-40FB-FB7F-35E7-CFC2589044E6}"/>
          </ac:picMkLst>
        </pc:picChg>
      </pc:sldChg>
      <pc:sldChg chg="addSp delSp modSp new">
        <pc:chgData name="Cecilie Rolstad Denby" userId="S::cecilero@uio.no::3da6dd35-3bc2-447b-90f9-84bc16b34c1f" providerId="AD" clId="Web-{24658D6D-903C-4AF7-2EBC-229DF9911E9E}" dt="2022-04-20T11:44:28.991" v="438"/>
        <pc:sldMkLst>
          <pc:docMk/>
          <pc:sldMk cId="3313112591" sldId="273"/>
        </pc:sldMkLst>
        <pc:spChg chg="mod">
          <ac:chgData name="Cecilie Rolstad Denby" userId="S::cecilero@uio.no::3da6dd35-3bc2-447b-90f9-84bc16b34c1f" providerId="AD" clId="Web-{24658D6D-903C-4AF7-2EBC-229DF9911E9E}" dt="2022-04-20T11:17:02.151" v="257" actId="20577"/>
          <ac:spMkLst>
            <pc:docMk/>
            <pc:sldMk cId="3313112591" sldId="273"/>
            <ac:spMk id="2" creationId="{8A7FEA03-6824-B7A3-EE98-573F4DE706D3}"/>
          </ac:spMkLst>
        </pc:spChg>
        <pc:spChg chg="del mod">
          <ac:chgData name="Cecilie Rolstad Denby" userId="S::cecilero@uio.no::3da6dd35-3bc2-447b-90f9-84bc16b34c1f" providerId="AD" clId="Web-{24658D6D-903C-4AF7-2EBC-229DF9911E9E}" dt="2022-04-20T11:44:28.991" v="438"/>
          <ac:spMkLst>
            <pc:docMk/>
            <pc:sldMk cId="3313112591" sldId="273"/>
            <ac:spMk id="5" creationId="{BC8A904A-5290-4738-327D-527419B25E4E}"/>
          </ac:spMkLst>
        </pc:spChg>
        <pc:spChg chg="add">
          <ac:chgData name="Cecilie Rolstad Denby" userId="S::cecilero@uio.no::3da6dd35-3bc2-447b-90f9-84bc16b34c1f" providerId="AD" clId="Web-{24658D6D-903C-4AF7-2EBC-229DF9911E9E}" dt="2022-04-20T10:52:55.095" v="10"/>
          <ac:spMkLst>
            <pc:docMk/>
            <pc:sldMk cId="3313112591" sldId="273"/>
            <ac:spMk id="6" creationId="{1CD79B33-8A72-AAED-88F5-D1E7F6C1DB24}"/>
          </ac:spMkLst>
        </pc:spChg>
        <pc:picChg chg="add mod">
          <ac:chgData name="Cecilie Rolstad Denby" userId="S::cecilero@uio.no::3da6dd35-3bc2-447b-90f9-84bc16b34c1f" providerId="AD" clId="Web-{24658D6D-903C-4AF7-2EBC-229DF9911E9E}" dt="2022-04-20T11:13:32.834" v="237" actId="1076"/>
          <ac:picMkLst>
            <pc:docMk/>
            <pc:sldMk cId="3313112591" sldId="273"/>
            <ac:picMk id="7" creationId="{5DC1C3B7-802C-E515-38A0-E66B90CD68BE}"/>
          </ac:picMkLst>
        </pc:picChg>
        <pc:picChg chg="add mod">
          <ac:chgData name="Cecilie Rolstad Denby" userId="S::cecilero@uio.no::3da6dd35-3bc2-447b-90f9-84bc16b34c1f" providerId="AD" clId="Web-{24658D6D-903C-4AF7-2EBC-229DF9911E9E}" dt="2022-04-20T11:17:10.838" v="258" actId="14100"/>
          <ac:picMkLst>
            <pc:docMk/>
            <pc:sldMk cId="3313112591" sldId="273"/>
            <ac:picMk id="8" creationId="{5FCAE6F0-FC5F-E7E0-BD9A-19C102C0D6B8}"/>
          </ac:picMkLst>
        </pc:picChg>
      </pc:sldChg>
      <pc:sldChg chg="addSp modSp new">
        <pc:chgData name="Cecilie Rolstad Denby" userId="S::cecilero@uio.no::3da6dd35-3bc2-447b-90f9-84bc16b34c1f" providerId="AD" clId="Web-{24658D6D-903C-4AF7-2EBC-229DF9911E9E}" dt="2022-04-20T12:06:23.232" v="506" actId="1076"/>
        <pc:sldMkLst>
          <pc:docMk/>
          <pc:sldMk cId="2059721839" sldId="274"/>
        </pc:sldMkLst>
        <pc:spChg chg="mod">
          <ac:chgData name="Cecilie Rolstad Denby" userId="S::cecilero@uio.no::3da6dd35-3bc2-447b-90f9-84bc16b34c1f" providerId="AD" clId="Web-{24658D6D-903C-4AF7-2EBC-229DF9911E9E}" dt="2022-04-20T11:33:29.855" v="356" actId="20577"/>
          <ac:spMkLst>
            <pc:docMk/>
            <pc:sldMk cId="2059721839" sldId="274"/>
            <ac:spMk id="2" creationId="{E2674316-55F7-EEE8-15D6-70D335F483D5}"/>
          </ac:spMkLst>
        </pc:spChg>
        <pc:spChg chg="mod">
          <ac:chgData name="Cecilie Rolstad Denby" userId="S::cecilero@uio.no::3da6dd35-3bc2-447b-90f9-84bc16b34c1f" providerId="AD" clId="Web-{24658D6D-903C-4AF7-2EBC-229DF9911E9E}" dt="2022-04-20T11:33:00.589" v="336" actId="20577"/>
          <ac:spMkLst>
            <pc:docMk/>
            <pc:sldMk cId="2059721839" sldId="274"/>
            <ac:spMk id="5" creationId="{67C71547-B77E-B35D-57A3-37EC1BEBF56E}"/>
          </ac:spMkLst>
        </pc:spChg>
        <pc:spChg chg="add mod">
          <ac:chgData name="Cecilie Rolstad Denby" userId="S::cecilero@uio.no::3da6dd35-3bc2-447b-90f9-84bc16b34c1f" providerId="AD" clId="Web-{24658D6D-903C-4AF7-2EBC-229DF9911E9E}" dt="2022-04-20T12:06:23.232" v="506" actId="1076"/>
          <ac:spMkLst>
            <pc:docMk/>
            <pc:sldMk cId="2059721839" sldId="274"/>
            <ac:spMk id="7" creationId="{71A301EF-381F-D6EE-5D01-FAE6AF54BAF8}"/>
          </ac:spMkLst>
        </pc:spChg>
        <pc:picChg chg="add mod">
          <ac:chgData name="Cecilie Rolstad Denby" userId="S::cecilero@uio.no::3da6dd35-3bc2-447b-90f9-84bc16b34c1f" providerId="AD" clId="Web-{24658D6D-903C-4AF7-2EBC-229DF9911E9E}" dt="2022-04-20T12:04:54.699" v="501" actId="1076"/>
          <ac:picMkLst>
            <pc:docMk/>
            <pc:sldMk cId="2059721839" sldId="274"/>
            <ac:picMk id="6" creationId="{A8A15D42-49CC-DAF1-3BAE-D23F330FC85F}"/>
          </ac:picMkLst>
        </pc:picChg>
        <pc:picChg chg="add mod">
          <ac:chgData name="Cecilie Rolstad Denby" userId="S::cecilero@uio.no::3da6dd35-3bc2-447b-90f9-84bc16b34c1f" providerId="AD" clId="Web-{24658D6D-903C-4AF7-2EBC-229DF9911E9E}" dt="2022-04-20T12:04:07.527" v="492" actId="14100"/>
          <ac:picMkLst>
            <pc:docMk/>
            <pc:sldMk cId="2059721839" sldId="274"/>
            <ac:picMk id="8" creationId="{F42EEB99-4E90-BD67-A352-72E885354E25}"/>
          </ac:picMkLst>
        </pc:picChg>
        <pc:picChg chg="add mod modCrop">
          <ac:chgData name="Cecilie Rolstad Denby" userId="S::cecilero@uio.no::3da6dd35-3bc2-447b-90f9-84bc16b34c1f" providerId="AD" clId="Web-{24658D6D-903C-4AF7-2EBC-229DF9911E9E}" dt="2022-04-20T12:04:37.371" v="500" actId="14100"/>
          <ac:picMkLst>
            <pc:docMk/>
            <pc:sldMk cId="2059721839" sldId="274"/>
            <ac:picMk id="9" creationId="{FE4D4A7C-B619-DA1F-18F2-023BA3D86119}"/>
          </ac:picMkLst>
        </pc:picChg>
        <pc:picChg chg="add mod">
          <ac:chgData name="Cecilie Rolstad Denby" userId="S::cecilero@uio.no::3da6dd35-3bc2-447b-90f9-84bc16b34c1f" providerId="AD" clId="Web-{24658D6D-903C-4AF7-2EBC-229DF9911E9E}" dt="2022-04-20T12:06:10.685" v="505" actId="1076"/>
          <ac:picMkLst>
            <pc:docMk/>
            <pc:sldMk cId="2059721839" sldId="274"/>
            <ac:picMk id="10" creationId="{9CAFF432-BFAD-4DF0-39FF-289ADBF79691}"/>
          </ac:picMkLst>
        </pc:picChg>
      </pc:sldChg>
      <pc:sldChg chg="addSp delSp modSp new">
        <pc:chgData name="Cecilie Rolstad Denby" userId="S::cecilero@uio.no::3da6dd35-3bc2-447b-90f9-84bc16b34c1f" providerId="AD" clId="Web-{24658D6D-903C-4AF7-2EBC-229DF9911E9E}" dt="2022-04-20T12:13:37.771" v="529"/>
        <pc:sldMkLst>
          <pc:docMk/>
          <pc:sldMk cId="925823882" sldId="275"/>
        </pc:sldMkLst>
        <pc:spChg chg="del">
          <ac:chgData name="Cecilie Rolstad Denby" userId="S::cecilero@uio.no::3da6dd35-3bc2-447b-90f9-84bc16b34c1f" providerId="AD" clId="Web-{24658D6D-903C-4AF7-2EBC-229DF9911E9E}" dt="2022-04-20T12:13:37.771" v="529"/>
          <ac:spMkLst>
            <pc:docMk/>
            <pc:sldMk cId="925823882" sldId="275"/>
            <ac:spMk id="5" creationId="{5A493903-E544-BBB8-99E0-B530CE904474}"/>
          </ac:spMkLst>
        </pc:spChg>
        <pc:spChg chg="add mod">
          <ac:chgData name="Cecilie Rolstad Denby" userId="S::cecilero@uio.no::3da6dd35-3bc2-447b-90f9-84bc16b34c1f" providerId="AD" clId="Web-{24658D6D-903C-4AF7-2EBC-229DF9911E9E}" dt="2022-04-20T11:29:01.194" v="308" actId="20577"/>
          <ac:spMkLst>
            <pc:docMk/>
            <pc:sldMk cId="925823882" sldId="275"/>
            <ac:spMk id="7" creationId="{12B20456-A43B-433F-29CF-FBA5E5AF0E87}"/>
          </ac:spMkLst>
        </pc:spChg>
      </pc:sldChg>
      <pc:sldChg chg="add del replId">
        <pc:chgData name="Cecilie Rolstad Denby" userId="S::cecilero@uio.no::3da6dd35-3bc2-447b-90f9-84bc16b34c1f" providerId="AD" clId="Web-{24658D6D-903C-4AF7-2EBC-229DF9911E9E}" dt="2022-04-20T11:29:55.414" v="320"/>
        <pc:sldMkLst>
          <pc:docMk/>
          <pc:sldMk cId="847434775" sldId="276"/>
        </pc:sldMkLst>
      </pc:sldChg>
      <pc:sldChg chg="addSp delSp modSp new">
        <pc:chgData name="Cecilie Rolstad Denby" userId="S::cecilero@uio.no::3da6dd35-3bc2-447b-90f9-84bc16b34c1f" providerId="AD" clId="Web-{24658D6D-903C-4AF7-2EBC-229DF9911E9E}" dt="2022-04-20T12:12:42.973" v="528" actId="14100"/>
        <pc:sldMkLst>
          <pc:docMk/>
          <pc:sldMk cId="3532957086" sldId="276"/>
        </pc:sldMkLst>
        <pc:spChg chg="del">
          <ac:chgData name="Cecilie Rolstad Denby" userId="S::cecilero@uio.no::3da6dd35-3bc2-447b-90f9-84bc16b34c1f" providerId="AD" clId="Web-{24658D6D-903C-4AF7-2EBC-229DF9911E9E}" dt="2022-04-20T11:39:52.455" v="410"/>
          <ac:spMkLst>
            <pc:docMk/>
            <pc:sldMk cId="3532957086" sldId="276"/>
            <ac:spMk id="2" creationId="{F856D0F8-3914-F2A6-184E-E533C967B6F7}"/>
          </ac:spMkLst>
        </pc:spChg>
        <pc:spChg chg="del">
          <ac:chgData name="Cecilie Rolstad Denby" userId="S::cecilero@uio.no::3da6dd35-3bc2-447b-90f9-84bc16b34c1f" providerId="AD" clId="Web-{24658D6D-903C-4AF7-2EBC-229DF9911E9E}" dt="2022-04-20T12:12:37.785" v="526"/>
          <ac:spMkLst>
            <pc:docMk/>
            <pc:sldMk cId="3532957086" sldId="276"/>
            <ac:spMk id="3" creationId="{8E2A25D3-CFB7-696E-2AAE-C1B2D61D9D5F}"/>
          </ac:spMkLst>
        </pc:spChg>
        <pc:spChg chg="del">
          <ac:chgData name="Cecilie Rolstad Denby" userId="S::cecilero@uio.no::3da6dd35-3bc2-447b-90f9-84bc16b34c1f" providerId="AD" clId="Web-{24658D6D-903C-4AF7-2EBC-229DF9911E9E}" dt="2022-04-20T11:40:04.721" v="413"/>
          <ac:spMkLst>
            <pc:docMk/>
            <pc:sldMk cId="3532957086" sldId="276"/>
            <ac:spMk id="5" creationId="{6DDDC032-565F-5692-A118-834934875B76}"/>
          </ac:spMkLst>
        </pc:spChg>
        <pc:spChg chg="add">
          <ac:chgData name="Cecilie Rolstad Denby" userId="S::cecilero@uio.no::3da6dd35-3bc2-447b-90f9-84bc16b34c1f" providerId="AD" clId="Web-{24658D6D-903C-4AF7-2EBC-229DF9911E9E}" dt="2022-04-20T11:40:54.503" v="415"/>
          <ac:spMkLst>
            <pc:docMk/>
            <pc:sldMk cId="3532957086" sldId="276"/>
            <ac:spMk id="7" creationId="{4F1A4966-7197-A15E-1823-0B311725D4F7}"/>
          </ac:spMkLst>
        </pc:spChg>
        <pc:spChg chg="add mod">
          <ac:chgData name="Cecilie Rolstad Denby" userId="S::cecilero@uio.no::3da6dd35-3bc2-447b-90f9-84bc16b34c1f" providerId="AD" clId="Web-{24658D6D-903C-4AF7-2EBC-229DF9911E9E}" dt="2022-04-20T11:41:27.332" v="423" actId="20577"/>
          <ac:spMkLst>
            <pc:docMk/>
            <pc:sldMk cId="3532957086" sldId="276"/>
            <ac:spMk id="8" creationId="{BD96F7E3-7128-942F-9C5A-C9248AC03FC4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2:12:20.363" v="520"/>
          <ac:spMkLst>
            <pc:docMk/>
            <pc:sldMk cId="3532957086" sldId="276"/>
            <ac:spMk id="11" creationId="{CE32A756-65CC-5467-26A9-5B7854F1D2C5}"/>
          </ac:spMkLst>
        </pc:spChg>
        <pc:graphicFrameChg chg="add del mod ord modGraphic">
          <ac:chgData name="Cecilie Rolstad Denby" userId="S::cecilero@uio.no::3da6dd35-3bc2-447b-90f9-84bc16b34c1f" providerId="AD" clId="Web-{24658D6D-903C-4AF7-2EBC-229DF9911E9E}" dt="2022-04-20T12:12:05.207" v="518"/>
          <ac:graphicFrameMkLst>
            <pc:docMk/>
            <pc:sldMk cId="3532957086" sldId="276"/>
            <ac:graphicFrameMk id="12" creationId="{12C48767-FE19-786A-11EA-94BBF69C0221}"/>
          </ac:graphicFrameMkLst>
        </pc:graphicFrameChg>
        <pc:picChg chg="add del mod ord">
          <ac:chgData name="Cecilie Rolstad Denby" userId="S::cecilero@uio.no::3da6dd35-3bc2-447b-90f9-84bc16b34c1f" providerId="AD" clId="Web-{24658D6D-903C-4AF7-2EBC-229DF9911E9E}" dt="2022-04-20T12:11:57.956" v="516"/>
          <ac:picMkLst>
            <pc:docMk/>
            <pc:sldMk cId="3532957086" sldId="276"/>
            <ac:picMk id="6" creationId="{8258EA68-F252-F213-F84B-F50B225EE37B}"/>
          </ac:picMkLst>
        </pc:picChg>
        <pc:picChg chg="add mod">
          <ac:chgData name="Cecilie Rolstad Denby" userId="S::cecilero@uio.no::3da6dd35-3bc2-447b-90f9-84bc16b34c1f" providerId="AD" clId="Web-{24658D6D-903C-4AF7-2EBC-229DF9911E9E}" dt="2022-04-20T12:12:42.973" v="528" actId="14100"/>
          <ac:picMkLst>
            <pc:docMk/>
            <pc:sldMk cId="3532957086" sldId="276"/>
            <ac:picMk id="9" creationId="{68AEC495-FA4E-2316-2ABB-93154E21BCBF}"/>
          </ac:picMkLst>
        </pc:picChg>
      </pc:sldChg>
      <pc:sldChg chg="addSp delSp modSp new mod modClrScheme chgLayout">
        <pc:chgData name="Cecilie Rolstad Denby" userId="S::cecilero@uio.no::3da6dd35-3bc2-447b-90f9-84bc16b34c1f" providerId="AD" clId="Web-{24658D6D-903C-4AF7-2EBC-229DF9911E9E}" dt="2022-04-20T11:49:15.777" v="459" actId="1076"/>
        <pc:sldMkLst>
          <pc:docMk/>
          <pc:sldMk cId="2159161112" sldId="277"/>
        </pc:sldMkLst>
        <pc:spChg chg="del">
          <ac:chgData name="Cecilie Rolstad Denby" userId="S::cecilero@uio.no::3da6dd35-3bc2-447b-90f9-84bc16b34c1f" providerId="AD" clId="Web-{24658D6D-903C-4AF7-2EBC-229DF9911E9E}" dt="2022-04-20T11:47:30.791" v="441"/>
          <ac:spMkLst>
            <pc:docMk/>
            <pc:sldMk cId="2159161112" sldId="277"/>
            <ac:spMk id="2" creationId="{43750FA3-8EC2-E2F0-0DEC-C0BE71D781C4}"/>
          </ac:spMkLst>
        </pc:spChg>
        <pc:spChg chg="add del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3" creationId="{D895EEBB-5247-5359-C3AD-E7BCEDA43F43}"/>
          </ac:spMkLst>
        </pc:spChg>
        <pc:spChg chg="mod ord modVis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4" creationId="{2AA0C823-0217-68FA-05E5-3671CB59245D}"/>
          </ac:spMkLst>
        </pc:spChg>
        <pc:spChg chg="del">
          <ac:chgData name="Cecilie Rolstad Denby" userId="S::cecilero@uio.no::3da6dd35-3bc2-447b-90f9-84bc16b34c1f" providerId="AD" clId="Web-{24658D6D-903C-4AF7-2EBC-229DF9911E9E}" dt="2022-04-20T11:48:10.760" v="446"/>
          <ac:spMkLst>
            <pc:docMk/>
            <pc:sldMk cId="2159161112" sldId="277"/>
            <ac:spMk id="5" creationId="{68D95F7A-7F96-530B-CEBF-9E4A351C3DF2}"/>
          </ac:spMkLst>
        </pc:spChg>
        <pc:spChg chg="add mod">
          <ac:chgData name="Cecilie Rolstad Denby" userId="S::cecilero@uio.no::3da6dd35-3bc2-447b-90f9-84bc16b34c1f" providerId="AD" clId="Web-{24658D6D-903C-4AF7-2EBC-229DF9911E9E}" dt="2022-04-20T11:49:15.777" v="459" actId="1076"/>
          <ac:spMkLst>
            <pc:docMk/>
            <pc:sldMk cId="2159161112" sldId="277"/>
            <ac:spMk id="7" creationId="{5367C0E4-0506-6030-3FC6-F8718BF4C049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13" creationId="{840532A7-BD38-26A0-1AD3-BFBFA0DF0242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15" creationId="{26693EDE-0B89-1F98-85CB-1D76B3EC8BA9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17" creationId="{3DE56A4E-598C-086B-67BC-282257107E3E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19" creationId="{1624746A-AB1F-226C-89BB-7A0408A9E452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21" creationId="{741A9ABB-7551-893C-8CAE-1DA27506717F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23" creationId="{E7B8B7EB-3952-4DF5-90D6-83792DF6BD38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27.589" v="449"/>
          <ac:spMkLst>
            <pc:docMk/>
            <pc:sldMk cId="2159161112" sldId="277"/>
            <ac:spMk id="25" creationId="{03AAA464-42AC-F711-9505-7FFB2626E2FA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27" creationId="{E9C2C0FB-2361-D798-2A90-671F692E4FA2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28" creationId="{CA682E8C-06C6-8254-4229-5C854EDB84C7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29" creationId="{687596FC-A8F6-1984-4882-98F1D1192781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30" creationId="{24E7E0A4-2944-0383-2BEA-BCF815B24C22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31" creationId="{E6B92A39-6E3C-2870-DB0D-143C4F2D4D6D}"/>
          </ac:spMkLst>
        </pc:spChg>
        <pc:spChg chg="add del mod">
          <ac:chgData name="Cecilie Rolstad Denby" userId="S::cecilero@uio.no::3da6dd35-3bc2-447b-90f9-84bc16b34c1f" providerId="AD" clId="Web-{24658D6D-903C-4AF7-2EBC-229DF9911E9E}" dt="2022-04-20T11:48:44.667" v="451"/>
          <ac:spMkLst>
            <pc:docMk/>
            <pc:sldMk cId="2159161112" sldId="277"/>
            <ac:spMk id="32" creationId="{D9A6F74E-35F5-D419-335F-8A456CAFE62E}"/>
          </ac:spMkLst>
        </pc:spChg>
        <pc:picChg chg="add mod ord">
          <ac:chgData name="Cecilie Rolstad Denby" userId="S::cecilero@uio.no::3da6dd35-3bc2-447b-90f9-84bc16b34c1f" providerId="AD" clId="Web-{24658D6D-903C-4AF7-2EBC-229DF9911E9E}" dt="2022-04-20T11:49:09.699" v="458" actId="14100"/>
          <ac:picMkLst>
            <pc:docMk/>
            <pc:sldMk cId="2159161112" sldId="277"/>
            <ac:picMk id="8" creationId="{0670FDB6-7C6B-7CB4-490A-AB3D4F4BF8C5}"/>
          </ac:picMkLst>
        </pc:picChg>
      </pc:sldChg>
      <pc:sldChg chg="addSp delSp modSp new">
        <pc:chgData name="Cecilie Rolstad Denby" userId="S::cecilero@uio.no::3da6dd35-3bc2-447b-90f9-84bc16b34c1f" providerId="AD" clId="Web-{24658D6D-903C-4AF7-2EBC-229DF9911E9E}" dt="2022-04-20T12:11:52.097" v="515" actId="1076"/>
        <pc:sldMkLst>
          <pc:docMk/>
          <pc:sldMk cId="516771528" sldId="278"/>
        </pc:sldMkLst>
        <pc:spChg chg="del">
          <ac:chgData name="Cecilie Rolstad Denby" userId="S::cecilero@uio.no::3da6dd35-3bc2-447b-90f9-84bc16b34c1f" providerId="AD" clId="Web-{24658D6D-903C-4AF7-2EBC-229DF9911E9E}" dt="2022-04-20T12:11:46.597" v="513"/>
          <ac:spMkLst>
            <pc:docMk/>
            <pc:sldMk cId="516771528" sldId="278"/>
            <ac:spMk id="2" creationId="{77D6BA9B-5C66-B94D-CE0A-C3563D812FCE}"/>
          </ac:spMkLst>
        </pc:spChg>
        <pc:spChg chg="del">
          <ac:chgData name="Cecilie Rolstad Denby" userId="S::cecilero@uio.no::3da6dd35-3bc2-447b-90f9-84bc16b34c1f" providerId="AD" clId="Web-{24658D6D-903C-4AF7-2EBC-229DF9911E9E}" dt="2022-04-20T12:11:40.706" v="511"/>
          <ac:spMkLst>
            <pc:docMk/>
            <pc:sldMk cId="516771528" sldId="278"/>
            <ac:spMk id="5" creationId="{E3B3CF67-EC2B-D5A4-5379-84D47BB301BF}"/>
          </ac:spMkLst>
        </pc:spChg>
        <pc:picChg chg="add mod">
          <ac:chgData name="Cecilie Rolstad Denby" userId="S::cecilero@uio.no::3da6dd35-3bc2-447b-90f9-84bc16b34c1f" providerId="AD" clId="Web-{24658D6D-903C-4AF7-2EBC-229DF9911E9E}" dt="2022-04-20T12:11:52.097" v="515" actId="1076"/>
          <ac:picMkLst>
            <pc:docMk/>
            <pc:sldMk cId="516771528" sldId="278"/>
            <ac:picMk id="7" creationId="{E9E5A868-FB67-9AB4-6B00-9ED1D2EF0BA6}"/>
          </ac:picMkLst>
        </pc:picChg>
      </pc:sldChg>
    </pc:docChg>
  </pc:docChgLst>
  <pc:docChgLst>
    <pc:chgData name="Cecilie Rolstad Denby" userId="S::cecilero@uio.no::3da6dd35-3bc2-447b-90f9-84bc16b34c1f" providerId="AD" clId="Web-{AC4170BF-3BCB-47D0-AD21-9F7053FA831E}"/>
    <pc:docChg chg="modSld">
      <pc:chgData name="Cecilie Rolstad Denby" userId="S::cecilero@uio.no::3da6dd35-3bc2-447b-90f9-84bc16b34c1f" providerId="AD" clId="Web-{AC4170BF-3BCB-47D0-AD21-9F7053FA831E}" dt="2022-04-25T07:57:22.888" v="1" actId="20577"/>
      <pc:docMkLst>
        <pc:docMk/>
      </pc:docMkLst>
      <pc:sldChg chg="modSp">
        <pc:chgData name="Cecilie Rolstad Denby" userId="S::cecilero@uio.no::3da6dd35-3bc2-447b-90f9-84bc16b34c1f" providerId="AD" clId="Web-{AC4170BF-3BCB-47D0-AD21-9F7053FA831E}" dt="2022-04-25T07:57:22.888" v="1" actId="20577"/>
        <pc:sldMkLst>
          <pc:docMk/>
          <pc:sldMk cId="2398878348" sldId="263"/>
        </pc:sldMkLst>
        <pc:spChg chg="mod">
          <ac:chgData name="Cecilie Rolstad Denby" userId="S::cecilero@uio.no::3da6dd35-3bc2-447b-90f9-84bc16b34c1f" providerId="AD" clId="Web-{AC4170BF-3BCB-47D0-AD21-9F7053FA831E}" dt="2022-04-25T07:57:22.888" v="1" actId="20577"/>
          <ac:spMkLst>
            <pc:docMk/>
            <pc:sldMk cId="2398878348" sldId="263"/>
            <ac:spMk id="5" creationId="{CD1A76D9-D766-4615-886E-F99D7D3D09D5}"/>
          </ac:spMkLst>
        </pc:spChg>
      </pc:sldChg>
    </pc:docChg>
  </pc:docChgLst>
  <pc:docChgLst>
    <pc:chgData name="Kaja Mosserud-Haavardsholm" userId="S::kajaem@uio.no::73941e72-4895-4094-a4d2-92012810311f" providerId="AD" clId="Web-{A67DD7B9-7626-4338-81BC-D71359BE7F1A}"/>
    <pc:docChg chg="modSld">
      <pc:chgData name="Kaja Mosserud-Haavardsholm" userId="S::kajaem@uio.no::73941e72-4895-4094-a4d2-92012810311f" providerId="AD" clId="Web-{A67DD7B9-7626-4338-81BC-D71359BE7F1A}" dt="2022-04-25T07:14:59.295" v="0" actId="1076"/>
      <pc:docMkLst>
        <pc:docMk/>
      </pc:docMkLst>
      <pc:sldChg chg="modSp">
        <pc:chgData name="Kaja Mosserud-Haavardsholm" userId="S::kajaem@uio.no::73941e72-4895-4094-a4d2-92012810311f" providerId="AD" clId="Web-{A67DD7B9-7626-4338-81BC-D71359BE7F1A}" dt="2022-04-25T07:14:59.295" v="0" actId="1076"/>
        <pc:sldMkLst>
          <pc:docMk/>
          <pc:sldMk cId="3519689284" sldId="291"/>
        </pc:sldMkLst>
        <pc:spChg chg="mod">
          <ac:chgData name="Kaja Mosserud-Haavardsholm" userId="S::kajaem@uio.no::73941e72-4895-4094-a4d2-92012810311f" providerId="AD" clId="Web-{A67DD7B9-7626-4338-81BC-D71359BE7F1A}" dt="2022-04-25T07:14:59.295" v="0" actId="1076"/>
          <ac:spMkLst>
            <pc:docMk/>
            <pc:sldMk cId="3519689284" sldId="291"/>
            <ac:spMk id="4" creationId="{656EDA8A-D001-1832-CF63-DBE6AD4CF926}"/>
          </ac:spMkLst>
        </pc:spChg>
      </pc:sldChg>
    </pc:docChg>
  </pc:docChgLst>
  <pc:docChgLst>
    <pc:chgData name="Kaja Mosserud-Haavardsholm" userId="S::kajaem@uio.no::73941e72-4895-4094-a4d2-92012810311f" providerId="AD" clId="Web-{A5AA10ED-F61A-4DB2-B089-3A098A857109}"/>
    <pc:docChg chg="modSld">
      <pc:chgData name="Kaja Mosserud-Haavardsholm" userId="S::kajaem@uio.no::73941e72-4895-4094-a4d2-92012810311f" providerId="AD" clId="Web-{A5AA10ED-F61A-4DB2-B089-3A098A857109}" dt="2022-04-20T08:00:25.822" v="171" actId="20577"/>
      <pc:docMkLst>
        <pc:docMk/>
      </pc:docMkLst>
      <pc:sldChg chg="modSp">
        <pc:chgData name="Kaja Mosserud-Haavardsholm" userId="S::kajaem@uio.no::73941e72-4895-4094-a4d2-92012810311f" providerId="AD" clId="Web-{A5AA10ED-F61A-4DB2-B089-3A098A857109}" dt="2022-04-20T07:57:30.068" v="23" actId="20577"/>
        <pc:sldMkLst>
          <pc:docMk/>
          <pc:sldMk cId="3854075043" sldId="267"/>
        </pc:sldMkLst>
        <pc:spChg chg="mod">
          <ac:chgData name="Kaja Mosserud-Haavardsholm" userId="S::kajaem@uio.no::73941e72-4895-4094-a4d2-92012810311f" providerId="AD" clId="Web-{A5AA10ED-F61A-4DB2-B089-3A098A857109}" dt="2022-04-20T07:57:30.068" v="23" actId="20577"/>
          <ac:spMkLst>
            <pc:docMk/>
            <pc:sldMk cId="3854075043" sldId="267"/>
            <ac:spMk id="2" creationId="{00000000-0000-0000-0000-000000000000}"/>
          </ac:spMkLst>
        </pc:spChg>
      </pc:sldChg>
      <pc:sldChg chg="modSp">
        <pc:chgData name="Kaja Mosserud-Haavardsholm" userId="S::kajaem@uio.no::73941e72-4895-4094-a4d2-92012810311f" providerId="AD" clId="Web-{A5AA10ED-F61A-4DB2-B089-3A098A857109}" dt="2022-04-20T08:00:25.822" v="171" actId="20577"/>
        <pc:sldMkLst>
          <pc:docMk/>
          <pc:sldMk cId="3171029722" sldId="268"/>
        </pc:sldMkLst>
        <pc:spChg chg="mod">
          <ac:chgData name="Kaja Mosserud-Haavardsholm" userId="S::kajaem@uio.no::73941e72-4895-4094-a4d2-92012810311f" providerId="AD" clId="Web-{A5AA10ED-F61A-4DB2-B089-3A098A857109}" dt="2022-04-20T08:00:25.822" v="171" actId="20577"/>
          <ac:spMkLst>
            <pc:docMk/>
            <pc:sldMk cId="3171029722" sldId="268"/>
            <ac:spMk id="2" creationId="{00000000-0000-0000-0000-000000000000}"/>
          </ac:spMkLst>
        </pc:spChg>
      </pc:sldChg>
      <pc:sldChg chg="modSp">
        <pc:chgData name="Kaja Mosserud-Haavardsholm" userId="S::kajaem@uio.no::73941e72-4895-4094-a4d2-92012810311f" providerId="AD" clId="Web-{A5AA10ED-F61A-4DB2-B089-3A098A857109}" dt="2022-04-20T07:59:33.086" v="74" actId="20577"/>
        <pc:sldMkLst>
          <pc:docMk/>
          <pc:sldMk cId="3382128355" sldId="269"/>
        </pc:sldMkLst>
        <pc:spChg chg="mod">
          <ac:chgData name="Kaja Mosserud-Haavardsholm" userId="S::kajaem@uio.no::73941e72-4895-4094-a4d2-92012810311f" providerId="AD" clId="Web-{A5AA10ED-F61A-4DB2-B089-3A098A857109}" dt="2022-04-20T07:59:33.086" v="74" actId="20577"/>
          <ac:spMkLst>
            <pc:docMk/>
            <pc:sldMk cId="3382128355" sldId="269"/>
            <ac:spMk id="2" creationId="{00000000-0000-0000-0000-000000000000}"/>
          </ac:spMkLst>
        </pc:spChg>
      </pc:sldChg>
    </pc:docChg>
  </pc:docChgLst>
  <pc:docChgLst>
    <pc:chgData name="Øivind Kure" userId="S::oivindku@uio.no::d357d66d-4d64-49a8-8304-e663f6de848a" providerId="AD" clId="Web-{CBCC98CB-5409-078B-5708-F77C1CCDD4C3}"/>
    <pc:docChg chg="">
      <pc:chgData name="Øivind Kure" userId="S::oivindku@uio.no::d357d66d-4d64-49a8-8304-e663f6de848a" providerId="AD" clId="Web-{CBCC98CB-5409-078B-5708-F77C1CCDD4C3}" dt="2022-04-21T14:14:11.833" v="0"/>
      <pc:docMkLst>
        <pc:docMk/>
      </pc:docMkLst>
      <pc:sldChg chg="modCm">
        <pc:chgData name="Øivind Kure" userId="S::oivindku@uio.no::d357d66d-4d64-49a8-8304-e663f6de848a" providerId="AD" clId="Web-{CBCC98CB-5409-078B-5708-F77C1CCDD4C3}" dt="2022-04-21T14:14:11.833" v="0"/>
        <pc:sldMkLst>
          <pc:docMk/>
          <pc:sldMk cId="60188408" sldId="281"/>
        </pc:sldMkLst>
      </pc:sldChg>
    </pc:docChg>
  </pc:docChgLst>
  <pc:docChgLst>
    <pc:chgData name="Kaja Mosserud-Haavardsholm" userId="73941e72-4895-4094-a4d2-92012810311f" providerId="ADAL" clId="{499F9145-9801-8E4D-8AAF-F88C769E1E99}"/>
    <pc:docChg chg="">
      <pc:chgData name="Kaja Mosserud-Haavardsholm" userId="73941e72-4895-4094-a4d2-92012810311f" providerId="ADAL" clId="{499F9145-9801-8E4D-8AAF-F88C769E1E99}" dt="2022-04-21T14:15:32.943" v="0"/>
      <pc:docMkLst>
        <pc:docMk/>
      </pc:docMkLst>
      <pc:sldChg chg="modCm">
        <pc:chgData name="Kaja Mosserud-Haavardsholm" userId="73941e72-4895-4094-a4d2-92012810311f" providerId="ADAL" clId="{499F9145-9801-8E4D-8AAF-F88C769E1E99}" dt="2022-04-21T14:15:32.943" v="0"/>
        <pc:sldMkLst>
          <pc:docMk/>
          <pc:sldMk cId="60188408" sldId="281"/>
        </pc:sldMkLst>
      </pc:sldChg>
    </pc:docChg>
  </pc:docChgLst>
  <pc:docChgLst>
    <pc:chgData name="Kaja Mosserud-Haavardsholm" userId="S::kajaem@uio.no::73941e72-4895-4094-a4d2-92012810311f" providerId="AD" clId="Web-{602E6B8D-F2F3-4D7D-A7CB-043E140F1281}"/>
    <pc:docChg chg="addSld delSld modSld sldOrd">
      <pc:chgData name="Kaja Mosserud-Haavardsholm" userId="S::kajaem@uio.no::73941e72-4895-4094-a4d2-92012810311f" providerId="AD" clId="Web-{602E6B8D-F2F3-4D7D-A7CB-043E140F1281}" dt="2022-04-22T12:37:39.600" v="1623"/>
      <pc:docMkLst>
        <pc:docMk/>
      </pc:docMkLst>
      <pc:sldChg chg="addSp modSp">
        <pc:chgData name="Kaja Mosserud-Haavardsholm" userId="S::kajaem@uio.no::73941e72-4895-4094-a4d2-92012810311f" providerId="AD" clId="Web-{602E6B8D-F2F3-4D7D-A7CB-043E140F1281}" dt="2022-04-22T12:13:55.376" v="1002" actId="20577"/>
        <pc:sldMkLst>
          <pc:docMk/>
          <pc:sldMk cId="3171029722" sldId="268"/>
        </pc:sldMkLst>
        <pc:spChg chg="mod">
          <ac:chgData name="Kaja Mosserud-Haavardsholm" userId="S::kajaem@uio.no::73941e72-4895-4094-a4d2-92012810311f" providerId="AD" clId="Web-{602E6B8D-F2F3-4D7D-A7CB-043E140F1281}" dt="2022-04-22T12:13:55.376" v="1002" actId="20577"/>
          <ac:spMkLst>
            <pc:docMk/>
            <pc:sldMk cId="3171029722" sldId="268"/>
            <ac:spMk id="2" creationId="{00000000-0000-0000-0000-000000000000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2:13:50.095" v="1001" actId="20577"/>
          <ac:spMkLst>
            <pc:docMk/>
            <pc:sldMk cId="3171029722" sldId="268"/>
            <ac:spMk id="5" creationId="{00000000-0000-0000-0000-000000000000}"/>
          </ac:spMkLst>
        </pc:spChg>
        <pc:picChg chg="add mod ord">
          <ac:chgData name="Kaja Mosserud-Haavardsholm" userId="S::kajaem@uio.no::73941e72-4895-4094-a4d2-92012810311f" providerId="AD" clId="Web-{602E6B8D-F2F3-4D7D-A7CB-043E140F1281}" dt="2022-04-22T12:09:30.620" v="992"/>
          <ac:picMkLst>
            <pc:docMk/>
            <pc:sldMk cId="3171029722" sldId="268"/>
            <ac:picMk id="6" creationId="{090501EA-83AC-B220-D7F5-D081DFB519EB}"/>
          </ac:picMkLst>
        </pc:picChg>
        <pc:picChg chg="mod">
          <ac:chgData name="Kaja Mosserud-Haavardsholm" userId="S::kajaem@uio.no::73941e72-4895-4094-a4d2-92012810311f" providerId="AD" clId="Web-{602E6B8D-F2F3-4D7D-A7CB-043E140F1281}" dt="2022-04-22T12:06:42.303" v="983" actId="1076"/>
          <ac:picMkLst>
            <pc:docMk/>
            <pc:sldMk cId="3171029722" sldId="268"/>
            <ac:picMk id="7" creationId="{C2DA8B5F-E890-A8ED-2289-474B80758D5A}"/>
          </ac:picMkLst>
        </pc:picChg>
        <pc:picChg chg="mod">
          <ac:chgData name="Kaja Mosserud-Haavardsholm" userId="S::kajaem@uio.no::73941e72-4895-4094-a4d2-92012810311f" providerId="AD" clId="Web-{602E6B8D-F2F3-4D7D-A7CB-043E140F1281}" dt="2022-04-22T12:06:58.725" v="986" actId="1076"/>
          <ac:picMkLst>
            <pc:docMk/>
            <pc:sldMk cId="3171029722" sldId="268"/>
            <ac:picMk id="8" creationId="{3DFE6A45-1069-130B-DA0A-4295B1D8AE2F}"/>
          </ac:picMkLst>
        </pc:picChg>
      </pc:sldChg>
      <pc:sldChg chg="modSp">
        <pc:chgData name="Kaja Mosserud-Haavardsholm" userId="S::kajaem@uio.no::73941e72-4895-4094-a4d2-92012810311f" providerId="AD" clId="Web-{602E6B8D-F2F3-4D7D-A7CB-043E140F1281}" dt="2022-04-22T12:25:35.863" v="1530" actId="20577"/>
        <pc:sldMkLst>
          <pc:docMk/>
          <pc:sldMk cId="3382128355" sldId="269"/>
        </pc:sldMkLst>
        <pc:spChg chg="mod">
          <ac:chgData name="Kaja Mosserud-Haavardsholm" userId="S::kajaem@uio.no::73941e72-4895-4094-a4d2-92012810311f" providerId="AD" clId="Web-{602E6B8D-F2F3-4D7D-A7CB-043E140F1281}" dt="2022-04-22T12:25:35.863" v="1530" actId="20577"/>
          <ac:spMkLst>
            <pc:docMk/>
            <pc:sldMk cId="3382128355" sldId="269"/>
            <ac:spMk id="2" creationId="{00000000-0000-0000-0000-000000000000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2:13:05.328" v="994" actId="20577"/>
          <ac:spMkLst>
            <pc:docMk/>
            <pc:sldMk cId="3382128355" sldId="269"/>
            <ac:spMk id="5" creationId="{00000000-0000-0000-0000-000000000000}"/>
          </ac:spMkLst>
        </pc:spChg>
      </pc:sldChg>
      <pc:sldChg chg="modSp">
        <pc:chgData name="Kaja Mosserud-Haavardsholm" userId="S::kajaem@uio.no::73941e72-4895-4094-a4d2-92012810311f" providerId="AD" clId="Web-{602E6B8D-F2F3-4D7D-A7CB-043E140F1281}" dt="2022-04-22T12:26:35.771" v="1543" actId="1076"/>
        <pc:sldMkLst>
          <pc:docMk/>
          <pc:sldMk cId="1082874148" sldId="270"/>
        </pc:sldMkLst>
        <pc:spChg chg="mod">
          <ac:chgData name="Kaja Mosserud-Haavardsholm" userId="S::kajaem@uio.no::73941e72-4895-4094-a4d2-92012810311f" providerId="AD" clId="Web-{602E6B8D-F2F3-4D7D-A7CB-043E140F1281}" dt="2022-04-22T12:26:34.021" v="1542" actId="14100"/>
          <ac:spMkLst>
            <pc:docMk/>
            <pc:sldMk cId="1082874148" sldId="270"/>
            <ac:spMk id="2" creationId="{00000000-0000-0000-0000-000000000000}"/>
          </ac:spMkLst>
        </pc:spChg>
        <pc:picChg chg="mod">
          <ac:chgData name="Kaja Mosserud-Haavardsholm" userId="S::kajaem@uio.no::73941e72-4895-4094-a4d2-92012810311f" providerId="AD" clId="Web-{602E6B8D-F2F3-4D7D-A7CB-043E140F1281}" dt="2022-04-22T12:26:35.771" v="1543" actId="1076"/>
          <ac:picMkLst>
            <pc:docMk/>
            <pc:sldMk cId="1082874148" sldId="270"/>
            <ac:picMk id="6" creationId="{42B4A605-BC2D-AADF-97B4-099AD72AA9F1}"/>
          </ac:picMkLst>
        </pc:picChg>
      </pc:sldChg>
      <pc:sldChg chg="delSp">
        <pc:chgData name="Kaja Mosserud-Haavardsholm" userId="S::kajaem@uio.no::73941e72-4895-4094-a4d2-92012810311f" providerId="AD" clId="Web-{602E6B8D-F2F3-4D7D-A7CB-043E140F1281}" dt="2022-04-22T12:26:48.037" v="1545"/>
        <pc:sldMkLst>
          <pc:docMk/>
          <pc:sldMk cId="1523784790" sldId="272"/>
        </pc:sldMkLst>
        <pc:spChg chg="del">
          <ac:chgData name="Kaja Mosserud-Haavardsholm" userId="S::kajaem@uio.no::73941e72-4895-4094-a4d2-92012810311f" providerId="AD" clId="Web-{602E6B8D-F2F3-4D7D-A7CB-043E140F1281}" dt="2022-04-22T12:26:44.537" v="1544"/>
          <ac:spMkLst>
            <pc:docMk/>
            <pc:sldMk cId="1523784790" sldId="272"/>
            <ac:spMk id="3" creationId="{89D63821-2F41-5679-A1B8-15232879A4E4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2:26:48.037" v="1545"/>
          <ac:spMkLst>
            <pc:docMk/>
            <pc:sldMk cId="1523784790" sldId="272"/>
            <ac:spMk id="6" creationId="{01AE79BC-771F-ECE6-E4F6-88E906B4F9D3}"/>
          </ac:spMkLst>
        </pc:spChg>
      </pc:sldChg>
      <pc:sldChg chg="delCm">
        <pc:chgData name="Kaja Mosserud-Haavardsholm" userId="S::kajaem@uio.no::73941e72-4895-4094-a4d2-92012810311f" providerId="AD" clId="Web-{602E6B8D-F2F3-4D7D-A7CB-043E140F1281}" dt="2022-04-22T12:37:39.600" v="1623"/>
        <pc:sldMkLst>
          <pc:docMk/>
          <pc:sldMk cId="3313112591" sldId="273"/>
        </pc:sldMkLst>
      </pc:sldChg>
      <pc:sldChg chg="del">
        <pc:chgData name="Kaja Mosserud-Haavardsholm" userId="S::kajaem@uio.no::73941e72-4895-4094-a4d2-92012810311f" providerId="AD" clId="Web-{602E6B8D-F2F3-4D7D-A7CB-043E140F1281}" dt="2022-04-22T11:57:44.320" v="843"/>
        <pc:sldMkLst>
          <pc:docMk/>
          <pc:sldMk cId="925823882" sldId="275"/>
        </pc:sldMkLst>
      </pc:sldChg>
      <pc:sldChg chg="del delCm">
        <pc:chgData name="Kaja Mosserud-Haavardsholm" userId="S::kajaem@uio.no::73941e72-4895-4094-a4d2-92012810311f" providerId="AD" clId="Web-{602E6B8D-F2F3-4D7D-A7CB-043E140F1281}" dt="2022-04-22T11:37:02.304" v="215"/>
        <pc:sldMkLst>
          <pc:docMk/>
          <pc:sldMk cId="3532957086" sldId="276"/>
        </pc:sldMkLst>
      </pc:sldChg>
      <pc:sldChg chg="addSp delSp modSp del">
        <pc:chgData name="Kaja Mosserud-Haavardsholm" userId="S::kajaem@uio.no::73941e72-4895-4094-a4d2-92012810311f" providerId="AD" clId="Web-{602E6B8D-F2F3-4D7D-A7CB-043E140F1281}" dt="2022-04-22T12:26:25.395" v="1541"/>
        <pc:sldMkLst>
          <pc:docMk/>
          <pc:sldMk cId="2159161112" sldId="277"/>
        </pc:sldMkLst>
        <pc:spChg chg="add mod">
          <ac:chgData name="Kaja Mosserud-Haavardsholm" userId="S::kajaem@uio.no::73941e72-4895-4094-a4d2-92012810311f" providerId="AD" clId="Web-{602E6B8D-F2F3-4D7D-A7CB-043E140F1281}" dt="2022-04-22T12:25:49.254" v="1533"/>
          <ac:spMkLst>
            <pc:docMk/>
            <pc:sldMk cId="2159161112" sldId="277"/>
            <ac:spMk id="5" creationId="{995F7BA7-02A1-69A8-1E1B-3B9912D50E3F}"/>
          </ac:spMkLst>
        </pc:spChg>
        <pc:picChg chg="del">
          <ac:chgData name="Kaja Mosserud-Haavardsholm" userId="S::kajaem@uio.no::73941e72-4895-4094-a4d2-92012810311f" providerId="AD" clId="Web-{602E6B8D-F2F3-4D7D-A7CB-043E140F1281}" dt="2022-04-22T12:25:49.254" v="1533"/>
          <ac:picMkLst>
            <pc:docMk/>
            <pc:sldMk cId="2159161112" sldId="277"/>
            <ac:picMk id="8" creationId="{0670FDB6-7C6B-7CB4-490A-AB3D4F4BF8C5}"/>
          </ac:picMkLst>
        </pc:picChg>
      </pc:sldChg>
      <pc:sldChg chg="modSp del">
        <pc:chgData name="Kaja Mosserud-Haavardsholm" userId="S::kajaem@uio.no::73941e72-4895-4094-a4d2-92012810311f" providerId="AD" clId="Web-{602E6B8D-F2F3-4D7D-A7CB-043E140F1281}" dt="2022-04-22T12:30:25.417" v="1575"/>
        <pc:sldMkLst>
          <pc:docMk/>
          <pc:sldMk cId="2501104728" sldId="279"/>
        </pc:sldMkLst>
        <pc:spChg chg="mod">
          <ac:chgData name="Kaja Mosserud-Haavardsholm" userId="S::kajaem@uio.no::73941e72-4895-4094-a4d2-92012810311f" providerId="AD" clId="Web-{602E6B8D-F2F3-4D7D-A7CB-043E140F1281}" dt="2022-04-22T12:28:48.040" v="1559" actId="20577"/>
          <ac:spMkLst>
            <pc:docMk/>
            <pc:sldMk cId="2501104728" sldId="279"/>
            <ac:spMk id="7" creationId="{7D527AD3-F67E-4865-64D6-AF99F123AE20}"/>
          </ac:spMkLst>
        </pc:spChg>
      </pc:sldChg>
      <pc:sldChg chg="delSp">
        <pc:chgData name="Kaja Mosserud-Haavardsholm" userId="S::kajaem@uio.no::73941e72-4895-4094-a4d2-92012810311f" providerId="AD" clId="Web-{602E6B8D-F2F3-4D7D-A7CB-043E140F1281}" dt="2022-04-22T12:27:26.038" v="1546"/>
        <pc:sldMkLst>
          <pc:docMk/>
          <pc:sldMk cId="3997630168" sldId="282"/>
        </pc:sldMkLst>
        <pc:spChg chg="del">
          <ac:chgData name="Kaja Mosserud-Haavardsholm" userId="S::kajaem@uio.no::73941e72-4895-4094-a4d2-92012810311f" providerId="AD" clId="Web-{602E6B8D-F2F3-4D7D-A7CB-043E140F1281}" dt="2022-04-22T12:27:26.038" v="1546"/>
          <ac:spMkLst>
            <pc:docMk/>
            <pc:sldMk cId="3997630168" sldId="282"/>
            <ac:spMk id="17" creationId="{38C0E687-663C-FF6A-6683-0DB041A06744}"/>
          </ac:spMkLst>
        </pc:spChg>
      </pc:sldChg>
      <pc:sldChg chg="addSp delSp modSp">
        <pc:chgData name="Kaja Mosserud-Haavardsholm" userId="S::kajaem@uio.no::73941e72-4895-4094-a4d2-92012810311f" providerId="AD" clId="Web-{602E6B8D-F2F3-4D7D-A7CB-043E140F1281}" dt="2022-04-22T12:37:03.193" v="1622"/>
        <pc:sldMkLst>
          <pc:docMk/>
          <pc:sldMk cId="1871866623" sldId="284"/>
        </pc:sldMkLst>
        <pc:spChg chg="del">
          <ac:chgData name="Kaja Mosserud-Haavardsholm" userId="S::kajaem@uio.no::73941e72-4895-4094-a4d2-92012810311f" providerId="AD" clId="Web-{602E6B8D-F2F3-4D7D-A7CB-043E140F1281}" dt="2022-04-22T12:37:03.193" v="1622"/>
          <ac:spMkLst>
            <pc:docMk/>
            <pc:sldMk cId="1871866623" sldId="284"/>
            <ac:spMk id="2" creationId="{1A5E6E21-27C8-263E-E8A0-B358A97DCE03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2:33:49.172" v="1621"/>
          <ac:spMkLst>
            <pc:docMk/>
            <pc:sldMk cId="1871866623" sldId="284"/>
            <ac:spMk id="3" creationId="{AF51E796-63CE-5431-75B2-404BD05AB421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2:32:56.859" v="1620"/>
          <ac:spMkLst>
            <pc:docMk/>
            <pc:sldMk cId="1871866623" sldId="284"/>
            <ac:spMk id="4" creationId="{D3EEA9C5-4EF0-61B5-F6D5-755B649E9D69}"/>
          </ac:spMkLst>
        </pc:spChg>
        <pc:picChg chg="add mod ord modCrop">
          <ac:chgData name="Kaja Mosserud-Haavardsholm" userId="S::kajaem@uio.no::73941e72-4895-4094-a4d2-92012810311f" providerId="AD" clId="Web-{602E6B8D-F2F3-4D7D-A7CB-043E140F1281}" dt="2022-04-22T12:37:03.193" v="1622"/>
          <ac:picMkLst>
            <pc:docMk/>
            <pc:sldMk cId="1871866623" sldId="284"/>
            <ac:picMk id="7" creationId="{1A3DA647-7C54-7DF6-F723-ED8F709DA8B6}"/>
          </ac:picMkLst>
        </pc:picChg>
      </pc:sldChg>
      <pc:sldChg chg="delSp">
        <pc:chgData name="Kaja Mosserud-Haavardsholm" userId="S::kajaem@uio.no::73941e72-4895-4094-a4d2-92012810311f" providerId="AD" clId="Web-{602E6B8D-F2F3-4D7D-A7CB-043E140F1281}" dt="2022-04-22T11:24:49.551" v="38"/>
        <pc:sldMkLst>
          <pc:docMk/>
          <pc:sldMk cId="572367675" sldId="285"/>
        </pc:sldMkLst>
        <pc:spChg chg="del">
          <ac:chgData name="Kaja Mosserud-Haavardsholm" userId="S::kajaem@uio.no::73941e72-4895-4094-a4d2-92012810311f" providerId="AD" clId="Web-{602E6B8D-F2F3-4D7D-A7CB-043E140F1281}" dt="2022-04-22T11:24:49.551" v="38"/>
          <ac:spMkLst>
            <pc:docMk/>
            <pc:sldMk cId="572367675" sldId="285"/>
            <ac:spMk id="5" creationId="{3CB0DF23-10FC-38EE-36E8-C0CF8E186392}"/>
          </ac:spMkLst>
        </pc:spChg>
      </pc:sldChg>
      <pc:sldChg chg="modSp">
        <pc:chgData name="Kaja Mosserud-Haavardsholm" userId="S::kajaem@uio.no::73941e72-4895-4094-a4d2-92012810311f" providerId="AD" clId="Web-{602E6B8D-F2F3-4D7D-A7CB-043E140F1281}" dt="2022-04-22T12:02:23.249" v="878" actId="20577"/>
        <pc:sldMkLst>
          <pc:docMk/>
          <pc:sldMk cId="3519689284" sldId="291"/>
        </pc:sldMkLst>
        <pc:spChg chg="mod">
          <ac:chgData name="Kaja Mosserud-Haavardsholm" userId="S::kajaem@uio.no::73941e72-4895-4094-a4d2-92012810311f" providerId="AD" clId="Web-{602E6B8D-F2F3-4D7D-A7CB-043E140F1281}" dt="2022-04-22T12:02:23.249" v="878" actId="20577"/>
          <ac:spMkLst>
            <pc:docMk/>
            <pc:sldMk cId="3519689284" sldId="291"/>
            <ac:spMk id="2" creationId="{DBEB77F7-F0F7-CD72-E953-9D5F231A7943}"/>
          </ac:spMkLst>
        </pc:spChg>
      </pc:sldChg>
      <pc:sldChg chg="addSp delSp modSp ord">
        <pc:chgData name="Kaja Mosserud-Haavardsholm" userId="S::kajaem@uio.no::73941e72-4895-4094-a4d2-92012810311f" providerId="AD" clId="Web-{602E6B8D-F2F3-4D7D-A7CB-043E140F1281}" dt="2022-04-22T12:00:15.902" v="868" actId="20577"/>
        <pc:sldMkLst>
          <pc:docMk/>
          <pc:sldMk cId="2423387911" sldId="292"/>
        </pc:sldMkLst>
        <pc:spChg chg="mod">
          <ac:chgData name="Kaja Mosserud-Haavardsholm" userId="S::kajaem@uio.no::73941e72-4895-4094-a4d2-92012810311f" providerId="AD" clId="Web-{602E6B8D-F2F3-4D7D-A7CB-043E140F1281}" dt="2022-04-22T11:19:13.152" v="5" actId="20577"/>
          <ac:spMkLst>
            <pc:docMk/>
            <pc:sldMk cId="2423387911" sldId="292"/>
            <ac:spMk id="4" creationId="{F3EB77C6-4E22-52FA-4115-1848E2077CB0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1:24:19.394" v="37" actId="20577"/>
          <ac:spMkLst>
            <pc:docMk/>
            <pc:sldMk cId="2423387911" sldId="292"/>
            <ac:spMk id="10" creationId="{3315B332-8675-D27C-BA48-E02D29273D84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2:00:15.902" v="868" actId="20577"/>
          <ac:spMkLst>
            <pc:docMk/>
            <pc:sldMk cId="2423387911" sldId="292"/>
            <ac:spMk id="13" creationId="{FB47152C-F9AA-AF79-F051-9A8B10C6021E}"/>
          </ac:spMkLst>
        </pc:spChg>
        <pc:spChg chg="add del">
          <ac:chgData name="Kaja Mosserud-Haavardsholm" userId="S::kajaem@uio.no::73941e72-4895-4094-a4d2-92012810311f" providerId="AD" clId="Web-{602E6B8D-F2F3-4D7D-A7CB-043E140F1281}" dt="2022-04-22T11:22:27.782" v="26"/>
          <ac:spMkLst>
            <pc:docMk/>
            <pc:sldMk cId="2423387911" sldId="292"/>
            <ac:spMk id="19" creationId="{3684056C-79DD-8844-8A06-A44BC93ECB3F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1:24:00.847" v="29"/>
          <ac:spMkLst>
            <pc:docMk/>
            <pc:sldMk cId="2423387911" sldId="292"/>
            <ac:spMk id="29" creationId="{260542DF-1D24-4C1C-1CE5-692DFE9A664C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1:20:54.858" v="19"/>
          <ac:spMkLst>
            <pc:docMk/>
            <pc:sldMk cId="2423387911" sldId="292"/>
            <ac:spMk id="30" creationId="{DF22528D-E9FE-6081-260D-268600CBC72C}"/>
          </ac:spMkLst>
        </pc:spChg>
        <pc:picChg chg="add del mod ord modCrop">
          <ac:chgData name="Kaja Mosserud-Haavardsholm" userId="S::kajaem@uio.no::73941e72-4895-4094-a4d2-92012810311f" providerId="AD" clId="Web-{602E6B8D-F2F3-4D7D-A7CB-043E140F1281}" dt="2022-04-22T11:21:58.453" v="25"/>
          <ac:picMkLst>
            <pc:docMk/>
            <pc:sldMk cId="2423387911" sldId="292"/>
            <ac:picMk id="2" creationId="{1A44ABA6-3AA1-1778-966B-093AEE369458}"/>
          </ac:picMkLst>
        </pc:picChg>
        <pc:picChg chg="add mod ord modCrop">
          <ac:chgData name="Kaja Mosserud-Haavardsholm" userId="S::kajaem@uio.no::73941e72-4895-4094-a4d2-92012810311f" providerId="AD" clId="Web-{602E6B8D-F2F3-4D7D-A7CB-043E140F1281}" dt="2022-04-22T11:22:33.548" v="28" actId="1076"/>
          <ac:picMkLst>
            <pc:docMk/>
            <pc:sldMk cId="2423387911" sldId="292"/>
            <ac:picMk id="5" creationId="{AC63E1EF-3FFC-3A5C-D263-DA1C07439674}"/>
          </ac:picMkLst>
        </pc:picChg>
        <pc:picChg chg="add mod ord modCrop">
          <ac:chgData name="Kaja Mosserud-Haavardsholm" userId="S::kajaem@uio.no::73941e72-4895-4094-a4d2-92012810311f" providerId="AD" clId="Web-{602E6B8D-F2F3-4D7D-A7CB-043E140F1281}" dt="2022-04-22T11:24:00.847" v="29"/>
          <ac:picMkLst>
            <pc:docMk/>
            <pc:sldMk cId="2423387911" sldId="292"/>
            <ac:picMk id="8" creationId="{DAB13FBC-9502-D0FD-0215-2F263BE9EB32}"/>
          </ac:picMkLst>
        </pc:picChg>
      </pc:sldChg>
      <pc:sldChg chg="modSp new del">
        <pc:chgData name="Kaja Mosserud-Haavardsholm" userId="S::kajaem@uio.no::73941e72-4895-4094-a4d2-92012810311f" providerId="AD" clId="Web-{602E6B8D-F2F3-4D7D-A7CB-043E140F1281}" dt="2022-04-22T11:34:55.223" v="197"/>
        <pc:sldMkLst>
          <pc:docMk/>
          <pc:sldMk cId="661767926" sldId="294"/>
        </pc:sldMkLst>
        <pc:spChg chg="mod">
          <ac:chgData name="Kaja Mosserud-Haavardsholm" userId="S::kajaem@uio.no::73941e72-4895-4094-a4d2-92012810311f" providerId="AD" clId="Web-{602E6B8D-F2F3-4D7D-A7CB-043E140F1281}" dt="2022-04-22T11:34:46.660" v="195" actId="20577"/>
          <ac:spMkLst>
            <pc:docMk/>
            <pc:sldMk cId="661767926" sldId="294"/>
            <ac:spMk id="2" creationId="{38218008-1390-3EF8-93CA-333F2C9B65D6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1:27:06.102" v="83" actId="20577"/>
          <ac:spMkLst>
            <pc:docMk/>
            <pc:sldMk cId="661767926" sldId="294"/>
            <ac:spMk id="3" creationId="{4C0378E4-8A3D-C2F7-710D-423423DB36EB}"/>
          </ac:spMkLst>
        </pc:spChg>
      </pc:sldChg>
      <pc:sldChg chg="addSp delSp modSp new ord">
        <pc:chgData name="Kaja Mosserud-Haavardsholm" userId="S::kajaem@uio.no::73941e72-4895-4094-a4d2-92012810311f" providerId="AD" clId="Web-{602E6B8D-F2F3-4D7D-A7CB-043E140F1281}" dt="2022-04-22T11:37:12.883" v="217"/>
        <pc:sldMkLst>
          <pc:docMk/>
          <pc:sldMk cId="3838461767" sldId="295"/>
        </pc:sldMkLst>
        <pc:spChg chg="mod">
          <ac:chgData name="Kaja Mosserud-Haavardsholm" userId="S::kajaem@uio.no::73941e72-4895-4094-a4d2-92012810311f" providerId="AD" clId="Web-{602E6B8D-F2F3-4D7D-A7CB-043E140F1281}" dt="2022-04-22T11:36:44.148" v="213" actId="20577"/>
          <ac:spMkLst>
            <pc:docMk/>
            <pc:sldMk cId="3838461767" sldId="295"/>
            <ac:spMk id="2" creationId="{18B23697-C6F0-6CF1-3672-E433F3A86E12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1:34:29.879" v="191"/>
          <ac:spMkLst>
            <pc:docMk/>
            <pc:sldMk cId="3838461767" sldId="295"/>
            <ac:spMk id="3" creationId="{A3AEB0FE-0C52-8C17-003A-11C3D1BAFE7B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1:34:12.831" v="186" actId="20577"/>
          <ac:spMkLst>
            <pc:docMk/>
            <pc:sldMk cId="3838461767" sldId="295"/>
            <ac:spMk id="4" creationId="{AE8337EA-9E95-D151-DC0C-974659EC4E73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1:36:47.507" v="214"/>
          <ac:spMkLst>
            <pc:docMk/>
            <pc:sldMk cId="3838461767" sldId="295"/>
            <ac:spMk id="5" creationId="{88CD163B-84C8-13EC-072B-D18F7C8FA49A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1:34:51.067" v="196" actId="20577"/>
          <ac:spMkLst>
            <pc:docMk/>
            <pc:sldMk cId="3838461767" sldId="295"/>
            <ac:spMk id="7" creationId="{69CAF9A2-5832-2A2B-FBE0-442941643B92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1:34:41.769" v="194" actId="14100"/>
          <ac:spMkLst>
            <pc:docMk/>
            <pc:sldMk cId="3838461767" sldId="295"/>
            <ac:spMk id="8" creationId="{A8A8194A-D343-D867-C37B-A94A8237BC0D}"/>
          </ac:spMkLst>
        </pc:spChg>
        <pc:picChg chg="add mod">
          <ac:chgData name="Kaja Mosserud-Haavardsholm" userId="S::kajaem@uio.no::73941e72-4895-4094-a4d2-92012810311f" providerId="AD" clId="Web-{602E6B8D-F2F3-4D7D-A7CB-043E140F1281}" dt="2022-04-22T11:34:26.535" v="190" actId="1076"/>
          <ac:picMkLst>
            <pc:docMk/>
            <pc:sldMk cId="3838461767" sldId="295"/>
            <ac:picMk id="9" creationId="{959D3BDE-AF83-D2D3-4CA1-868DDD6F0B00}"/>
          </ac:picMkLst>
        </pc:picChg>
      </pc:sldChg>
      <pc:sldChg chg="delSp modSp new">
        <pc:chgData name="Kaja Mosserud-Haavardsholm" userId="S::kajaem@uio.no::73941e72-4895-4094-a4d2-92012810311f" providerId="AD" clId="Web-{602E6B8D-F2F3-4D7D-A7CB-043E140F1281}" dt="2022-04-22T11:57:49.649" v="844" actId="1076"/>
        <pc:sldMkLst>
          <pc:docMk/>
          <pc:sldMk cId="4250830232" sldId="296"/>
        </pc:sldMkLst>
        <pc:spChg chg="mod">
          <ac:chgData name="Kaja Mosserud-Haavardsholm" userId="S::kajaem@uio.no::73941e72-4895-4094-a4d2-92012810311f" providerId="AD" clId="Web-{602E6B8D-F2F3-4D7D-A7CB-043E140F1281}" dt="2022-04-22T11:38:04.493" v="223" actId="20577"/>
          <ac:spMkLst>
            <pc:docMk/>
            <pc:sldMk cId="4250830232" sldId="296"/>
            <ac:spMk id="2" creationId="{E41E5C55-9FFC-E199-0215-36A4E1235FE2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1:54:24.253" v="711"/>
          <ac:spMkLst>
            <pc:docMk/>
            <pc:sldMk cId="4250830232" sldId="296"/>
            <ac:spMk id="3" creationId="{CB91C912-FB71-1C22-1D86-47055FA6BB98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1:57:49.649" v="844" actId="1076"/>
          <ac:spMkLst>
            <pc:docMk/>
            <pc:sldMk cId="4250830232" sldId="296"/>
            <ac:spMk id="4" creationId="{1300D65F-72A3-5B59-45C1-07CD44A4923D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1:55:06.519" v="765"/>
          <ac:spMkLst>
            <pc:docMk/>
            <pc:sldMk cId="4250830232" sldId="296"/>
            <ac:spMk id="5" creationId="{B778B5CD-B37E-5E7B-32F5-707CAEEC5E8F}"/>
          </ac:spMkLst>
        </pc:spChg>
      </pc:sldChg>
      <pc:sldChg chg="addSp delSp modSp new">
        <pc:chgData name="Kaja Mosserud-Haavardsholm" userId="S::kajaem@uio.no::73941e72-4895-4094-a4d2-92012810311f" providerId="AD" clId="Web-{602E6B8D-F2F3-4D7D-A7CB-043E140F1281}" dt="2022-04-22T12:26:17.551" v="1540"/>
        <pc:sldMkLst>
          <pc:docMk/>
          <pc:sldMk cId="2880627806" sldId="297"/>
        </pc:sldMkLst>
        <pc:spChg chg="mod">
          <ac:chgData name="Kaja Mosserud-Haavardsholm" userId="S::kajaem@uio.no::73941e72-4895-4094-a4d2-92012810311f" providerId="AD" clId="Web-{602E6B8D-F2F3-4D7D-A7CB-043E140F1281}" dt="2022-04-22T12:21:25.982" v="1399" actId="20577"/>
          <ac:spMkLst>
            <pc:docMk/>
            <pc:sldMk cId="2880627806" sldId="297"/>
            <ac:spMk id="2" creationId="{1A7B2881-A9A9-936C-A9CB-0B1D35B8EE7F}"/>
          </ac:spMkLst>
        </pc:spChg>
        <pc:spChg chg="del mod">
          <ac:chgData name="Kaja Mosserud-Haavardsholm" userId="S::kajaem@uio.no::73941e72-4895-4094-a4d2-92012810311f" providerId="AD" clId="Web-{602E6B8D-F2F3-4D7D-A7CB-043E140F1281}" dt="2022-04-22T12:25:38.769" v="1531"/>
          <ac:spMkLst>
            <pc:docMk/>
            <pc:sldMk cId="2880627806" sldId="297"/>
            <ac:spMk id="3" creationId="{9C3E5580-4E1E-791B-552E-B21134D2469A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2:26:14.817" v="1539" actId="1076"/>
          <ac:spMkLst>
            <pc:docMk/>
            <pc:sldMk cId="2880627806" sldId="297"/>
            <ac:spMk id="4" creationId="{C162CA62-537B-91CE-4C4A-434431CDFD48}"/>
          </ac:spMkLst>
        </pc:spChg>
        <pc:spChg chg="del">
          <ac:chgData name="Kaja Mosserud-Haavardsholm" userId="S::kajaem@uio.no::73941e72-4895-4094-a4d2-92012810311f" providerId="AD" clId="Web-{602E6B8D-F2F3-4D7D-A7CB-043E140F1281}" dt="2022-04-22T12:26:17.551" v="1540"/>
          <ac:spMkLst>
            <pc:docMk/>
            <pc:sldMk cId="2880627806" sldId="297"/>
            <ac:spMk id="5" creationId="{8568D312-4BD8-A463-C8FA-44A3B3A23F2E}"/>
          </ac:spMkLst>
        </pc:spChg>
        <pc:picChg chg="add mod">
          <ac:chgData name="Kaja Mosserud-Haavardsholm" userId="S::kajaem@uio.no::73941e72-4895-4094-a4d2-92012810311f" providerId="AD" clId="Web-{602E6B8D-F2F3-4D7D-A7CB-043E140F1281}" dt="2022-04-22T12:25:59.489" v="1536" actId="1076"/>
          <ac:picMkLst>
            <pc:docMk/>
            <pc:sldMk cId="2880627806" sldId="297"/>
            <ac:picMk id="7" creationId="{F079282A-44C6-904D-6A11-4E1254D47C9D}"/>
          </ac:picMkLst>
        </pc:picChg>
      </pc:sldChg>
      <pc:sldChg chg="addSp delSp modSp new del mod modClrScheme chgLayout">
        <pc:chgData name="Kaja Mosserud-Haavardsholm" userId="S::kajaem@uio.no::73941e72-4895-4094-a4d2-92012810311f" providerId="AD" clId="Web-{602E6B8D-F2F3-4D7D-A7CB-043E140F1281}" dt="2022-04-22T12:28:52.915" v="1560"/>
        <pc:sldMkLst>
          <pc:docMk/>
          <pc:sldMk cId="1717812834" sldId="298"/>
        </pc:sldMkLst>
        <pc:spChg chg="add del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2" creationId="{B775EEFA-F1BC-B0AE-5AC4-04CD7321B6B0}"/>
          </ac:spMkLst>
        </pc:spChg>
        <pc:spChg chg="add del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3" creationId="{741C2E3E-49D6-AC6A-62DD-724912A78EFD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2:28:44.883" v="1558" actId="20577"/>
          <ac:spMkLst>
            <pc:docMk/>
            <pc:sldMk cId="1717812834" sldId="298"/>
            <ac:spMk id="4" creationId="{AF625E87-860A-9535-C707-13282423FF47}"/>
          </ac:spMkLst>
        </pc:spChg>
        <pc:spChg chg="add del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5" creationId="{95690F71-FC0F-8785-815E-D3001061F62D}"/>
          </ac:spMkLst>
        </pc:spChg>
        <pc:spChg chg="add del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6" creationId="{B05A0173-4975-73DF-252A-5D09711C0787}"/>
          </ac:spMkLst>
        </pc:spChg>
        <pc:spChg chg="mod modVis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7" creationId="{66CFA570-E271-EAAB-17B3-B1A2D12A0CA3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12" creationId="{7EA76DFD-5D4E-839F-F23F-1064929A7142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14" creationId="{E8B22E8D-FD49-FB95-A526-FDA46EBA1C3D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16" creationId="{EDFFD379-FBF9-C912-757B-CCB39B858F89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18" creationId="{4D8DB023-1C59-300F-E9A6-C7899E596770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20" creationId="{A995ECE9-70A7-4BED-AC97-418B66F31EFE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22" creationId="{C0D9FE98-BB8A-BCBA-355A-45C4096D9B88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24" creationId="{C36C4AB5-842D-4425-7A73-9A651F16586B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26" creationId="{056A2EC3-673A-DFA3-6686-71896145D4CD}"/>
          </ac:spMkLst>
        </pc:spChg>
        <pc:spChg chg="add del mod">
          <ac:chgData name="Kaja Mosserud-Haavardsholm" userId="S::kajaem@uio.no::73941e72-4895-4094-a4d2-92012810311f" providerId="AD" clId="Web-{602E6B8D-F2F3-4D7D-A7CB-043E140F1281}" dt="2022-04-22T12:28:39.477" v="1556"/>
          <ac:spMkLst>
            <pc:docMk/>
            <pc:sldMk cId="1717812834" sldId="298"/>
            <ac:spMk id="28" creationId="{1F9E6667-1ADE-CFC4-CA80-EC15A4A59A13}"/>
          </ac:spMkLst>
        </pc:spChg>
      </pc:sldChg>
      <pc:sldChg chg="modSp new">
        <pc:chgData name="Kaja Mosserud-Haavardsholm" userId="S::kajaem@uio.no::73941e72-4895-4094-a4d2-92012810311f" providerId="AD" clId="Web-{602E6B8D-F2F3-4D7D-A7CB-043E140F1281}" dt="2022-04-22T12:31:48.357" v="1619" actId="20577"/>
        <pc:sldMkLst>
          <pc:docMk/>
          <pc:sldMk cId="2525056892" sldId="298"/>
        </pc:sldMkLst>
        <pc:spChg chg="mod">
          <ac:chgData name="Kaja Mosserud-Haavardsholm" userId="S::kajaem@uio.no::73941e72-4895-4094-a4d2-92012810311f" providerId="AD" clId="Web-{602E6B8D-F2F3-4D7D-A7CB-043E140F1281}" dt="2022-04-22T12:29:58.276" v="1562" actId="20577"/>
          <ac:spMkLst>
            <pc:docMk/>
            <pc:sldMk cId="2525056892" sldId="298"/>
            <ac:spMk id="2" creationId="{5378D535-F0E3-E62E-99C2-C560602F036C}"/>
          </ac:spMkLst>
        </pc:spChg>
        <pc:spChg chg="mod">
          <ac:chgData name="Kaja Mosserud-Haavardsholm" userId="S::kajaem@uio.no::73941e72-4895-4094-a4d2-92012810311f" providerId="AD" clId="Web-{602E6B8D-F2F3-4D7D-A7CB-043E140F1281}" dt="2022-04-22T12:31:48.357" v="1619" actId="20577"/>
          <ac:spMkLst>
            <pc:docMk/>
            <pc:sldMk cId="2525056892" sldId="298"/>
            <ac:spMk id="3" creationId="{7829E38B-3A4F-6EB9-C8FB-E09CC5FF7526}"/>
          </ac:spMkLst>
        </pc:spChg>
      </pc:sldChg>
    </pc:docChg>
  </pc:docChgLst>
  <pc:docChgLst>
    <pc:chgData name="Kaja Mosserud-Haavardsholm" userId="S::kajaem@uio.no::73941e72-4895-4094-a4d2-92012810311f" providerId="AD" clId="Web-{21D5AA2D-1C37-46CC-A469-D8376523AA8A}"/>
    <pc:docChg chg="addSld delSld modSld">
      <pc:chgData name="Kaja Mosserud-Haavardsholm" userId="S::kajaem@uio.no::73941e72-4895-4094-a4d2-92012810311f" providerId="AD" clId="Web-{21D5AA2D-1C37-46CC-A469-D8376523AA8A}" dt="2022-04-22T09:14:09.908" v="3"/>
      <pc:docMkLst>
        <pc:docMk/>
      </pc:docMkLst>
      <pc:sldChg chg="addSp delSp modSp">
        <pc:chgData name="Kaja Mosserud-Haavardsholm" userId="S::kajaem@uio.no::73941e72-4895-4094-a4d2-92012810311f" providerId="AD" clId="Web-{21D5AA2D-1C37-46CC-A469-D8376523AA8A}" dt="2022-04-22T09:13:52.611" v="1"/>
        <pc:sldMkLst>
          <pc:docMk/>
          <pc:sldMk cId="2147614121" sldId="288"/>
        </pc:sldMkLst>
        <pc:picChg chg="add del mod">
          <ac:chgData name="Kaja Mosserud-Haavardsholm" userId="S::kajaem@uio.no::73941e72-4895-4094-a4d2-92012810311f" providerId="AD" clId="Web-{21D5AA2D-1C37-46CC-A469-D8376523AA8A}" dt="2022-04-22T09:13:52.611" v="1"/>
          <ac:picMkLst>
            <pc:docMk/>
            <pc:sldMk cId="2147614121" sldId="288"/>
            <ac:picMk id="5" creationId="{FE93039F-4A22-58A7-DFF2-1474E0FC5365}"/>
          </ac:picMkLst>
        </pc:picChg>
      </pc:sldChg>
      <pc:sldChg chg="new del">
        <pc:chgData name="Kaja Mosserud-Haavardsholm" userId="S::kajaem@uio.no::73941e72-4895-4094-a4d2-92012810311f" providerId="AD" clId="Web-{21D5AA2D-1C37-46CC-A469-D8376523AA8A}" dt="2022-04-22T09:14:09.908" v="3"/>
        <pc:sldMkLst>
          <pc:docMk/>
          <pc:sldMk cId="2712347716" sldId="289"/>
        </pc:sldMkLst>
      </pc:sldChg>
    </pc:docChg>
  </pc:docChgLst>
  <pc:docChgLst>
    <pc:chgData name="Kaja Mosserud-Haavardsholm" userId="S::kajaem@uio.no::73941e72-4895-4094-a4d2-92012810311f" providerId="AD" clId="Web-{B3B70F5C-A49B-F242-ED58-30F25E10E4EC}"/>
    <pc:docChg chg="modSld">
      <pc:chgData name="Kaja Mosserud-Haavardsholm" userId="S::kajaem@uio.no::73941e72-4895-4094-a4d2-92012810311f" providerId="AD" clId="Web-{B3B70F5C-A49B-F242-ED58-30F25E10E4EC}" dt="2022-04-18T13:16:41.726" v="6"/>
      <pc:docMkLst>
        <pc:docMk/>
      </pc:docMkLst>
      <pc:sldChg chg="addSp delSp modSp">
        <pc:chgData name="Kaja Mosserud-Haavardsholm" userId="S::kajaem@uio.no::73941e72-4895-4094-a4d2-92012810311f" providerId="AD" clId="Web-{B3B70F5C-A49B-F242-ED58-30F25E10E4EC}" dt="2022-04-18T13:16:41.726" v="6"/>
        <pc:sldMkLst>
          <pc:docMk/>
          <pc:sldMk cId="2398878348" sldId="263"/>
        </pc:sldMkLst>
        <pc:spChg chg="mod">
          <ac:chgData name="Kaja Mosserud-Haavardsholm" userId="S::kajaem@uio.no::73941e72-4895-4094-a4d2-92012810311f" providerId="AD" clId="Web-{B3B70F5C-A49B-F242-ED58-30F25E10E4EC}" dt="2022-04-18T13:15:59.069" v="4" actId="1076"/>
          <ac:spMkLst>
            <pc:docMk/>
            <pc:sldMk cId="2398878348" sldId="263"/>
            <ac:spMk id="3" creationId="{33DD3C5F-F23B-451A-8B04-B979FE397763}"/>
          </ac:spMkLst>
        </pc:spChg>
        <pc:spChg chg="add del mod">
          <ac:chgData name="Kaja Mosserud-Haavardsholm" userId="S::kajaem@uio.no::73941e72-4895-4094-a4d2-92012810311f" providerId="AD" clId="Web-{B3B70F5C-A49B-F242-ED58-30F25E10E4EC}" dt="2022-04-18T13:15:12.817" v="2"/>
          <ac:spMkLst>
            <pc:docMk/>
            <pc:sldMk cId="2398878348" sldId="263"/>
            <ac:spMk id="6" creationId="{712A06F3-CF8D-E95A-2303-5481502299F6}"/>
          </ac:spMkLst>
        </pc:spChg>
        <pc:spChg chg="add del">
          <ac:chgData name="Kaja Mosserud-Haavardsholm" userId="S::kajaem@uio.no::73941e72-4895-4094-a4d2-92012810311f" providerId="AD" clId="Web-{B3B70F5C-A49B-F242-ED58-30F25E10E4EC}" dt="2022-04-18T13:16:41.726" v="6"/>
          <ac:spMkLst>
            <pc:docMk/>
            <pc:sldMk cId="2398878348" sldId="263"/>
            <ac:spMk id="8" creationId="{B40A6EC3-BA97-727C-E7CB-368D175F81C3}"/>
          </ac:spMkLst>
        </pc:spChg>
      </pc:sldChg>
    </pc:docChg>
  </pc:docChgLst>
  <pc:docChgLst>
    <pc:chgData name="Ida Elisabeth Rydning" userId="S::idaery@uio.no::5e9fe4f1-9c3e-41c3-85f7-20c30e6fa891" providerId="AD" clId="Web-{386B8086-8F25-4229-8D75-6A5729F9FD21}"/>
    <pc:docChg chg="addSld modSld">
      <pc:chgData name="Ida Elisabeth Rydning" userId="S::idaery@uio.no::5e9fe4f1-9c3e-41c3-85f7-20c30e6fa891" providerId="AD" clId="Web-{386B8086-8F25-4229-8D75-6A5729F9FD21}" dt="2022-04-19T06:27:52.024" v="250" actId="20577"/>
      <pc:docMkLst>
        <pc:docMk/>
      </pc:docMkLst>
      <pc:sldChg chg="modSp">
        <pc:chgData name="Ida Elisabeth Rydning" userId="S::idaery@uio.no::5e9fe4f1-9c3e-41c3-85f7-20c30e6fa891" providerId="AD" clId="Web-{386B8086-8F25-4229-8D75-6A5729F9FD21}" dt="2022-04-19T06:27:52.024" v="250" actId="20577"/>
        <pc:sldMkLst>
          <pc:docMk/>
          <pc:sldMk cId="1082874148" sldId="270"/>
        </pc:sldMkLst>
        <pc:spChg chg="mod">
          <ac:chgData name="Ida Elisabeth Rydning" userId="S::idaery@uio.no::5e9fe4f1-9c3e-41c3-85f7-20c30e6fa891" providerId="AD" clId="Web-{386B8086-8F25-4229-8D75-6A5729F9FD21}" dt="2022-04-19T06:27:52.024" v="250" actId="20577"/>
          <ac:spMkLst>
            <pc:docMk/>
            <pc:sldMk cId="1082874148" sldId="270"/>
            <ac:spMk id="2" creationId="{00000000-0000-0000-0000-000000000000}"/>
          </ac:spMkLst>
        </pc:spChg>
        <pc:spChg chg="mod">
          <ac:chgData name="Ida Elisabeth Rydning" userId="S::idaery@uio.no::5e9fe4f1-9c3e-41c3-85f7-20c30e6fa891" providerId="AD" clId="Web-{386B8086-8F25-4229-8D75-6A5729F9FD21}" dt="2022-04-19T06:18:16.101" v="14" actId="20577"/>
          <ac:spMkLst>
            <pc:docMk/>
            <pc:sldMk cId="1082874148" sldId="270"/>
            <ac:spMk id="5" creationId="{00000000-0000-0000-0000-000000000000}"/>
          </ac:spMkLst>
        </pc:spChg>
      </pc:sldChg>
      <pc:sldChg chg="modSp new">
        <pc:chgData name="Ida Elisabeth Rydning" userId="S::idaery@uio.no::5e9fe4f1-9c3e-41c3-85f7-20c30e6fa891" providerId="AD" clId="Web-{386B8086-8F25-4229-8D75-6A5729F9FD21}" dt="2022-04-19T06:25:57.428" v="245" actId="14100"/>
        <pc:sldMkLst>
          <pc:docMk/>
          <pc:sldMk cId="1523784790" sldId="272"/>
        </pc:sldMkLst>
        <pc:spChg chg="mod">
          <ac:chgData name="Ida Elisabeth Rydning" userId="S::idaery@uio.no::5e9fe4f1-9c3e-41c3-85f7-20c30e6fa891" providerId="AD" clId="Web-{386B8086-8F25-4229-8D75-6A5729F9FD21}" dt="2022-04-19T06:25:57.428" v="245" actId="14100"/>
          <ac:spMkLst>
            <pc:docMk/>
            <pc:sldMk cId="1523784790" sldId="272"/>
            <ac:spMk id="2" creationId="{DDE809E3-FD24-CB23-A57A-60451D9D2FB4}"/>
          </ac:spMkLst>
        </pc:spChg>
        <pc:spChg chg="mod">
          <ac:chgData name="Ida Elisabeth Rydning" userId="S::idaery@uio.no::5e9fe4f1-9c3e-41c3-85f7-20c30e6fa891" providerId="AD" clId="Web-{386B8086-8F25-4229-8D75-6A5729F9FD21}" dt="2022-04-19T06:19:29.386" v="43" actId="20577"/>
          <ac:spMkLst>
            <pc:docMk/>
            <pc:sldMk cId="1523784790" sldId="272"/>
            <ac:spMk id="5" creationId="{8248EF82-A256-1BFB-57F3-3501DF723436}"/>
          </ac:spMkLst>
        </pc:spChg>
      </pc:sldChg>
    </pc:docChg>
  </pc:docChgLst>
  <pc:docChgLst>
    <pc:chgData name="Cecilie Rolstad Denby" userId="S::cecilero@uio.no::3da6dd35-3bc2-447b-90f9-84bc16b34c1f" providerId="AD" clId="Web-{FA4EFBB6-6EA1-EC77-821E-8DE053905682}"/>
    <pc:docChg chg="addSld modSld">
      <pc:chgData name="Cecilie Rolstad Denby" userId="S::cecilero@uio.no::3da6dd35-3bc2-447b-90f9-84bc16b34c1f" providerId="AD" clId="Web-{FA4EFBB6-6EA1-EC77-821E-8DE053905682}" dt="2022-04-21T12:01:38.448" v="120" actId="20577"/>
      <pc:docMkLst>
        <pc:docMk/>
      </pc:docMkLst>
      <pc:sldChg chg="modSp">
        <pc:chgData name="Cecilie Rolstad Denby" userId="S::cecilero@uio.no::3da6dd35-3bc2-447b-90f9-84bc16b34c1f" providerId="AD" clId="Web-{FA4EFBB6-6EA1-EC77-821E-8DE053905682}" dt="2022-04-21T11:54:22.170" v="2" actId="1076"/>
        <pc:sldMkLst>
          <pc:docMk/>
          <pc:sldMk cId="1082874148" sldId="270"/>
        </pc:sldMkLst>
        <pc:picChg chg="mod">
          <ac:chgData name="Cecilie Rolstad Denby" userId="S::cecilero@uio.no::3da6dd35-3bc2-447b-90f9-84bc16b34c1f" providerId="AD" clId="Web-{FA4EFBB6-6EA1-EC77-821E-8DE053905682}" dt="2022-04-21T11:54:22.170" v="2" actId="1076"/>
          <ac:picMkLst>
            <pc:docMk/>
            <pc:sldMk cId="1082874148" sldId="270"/>
            <ac:picMk id="6" creationId="{42B4A605-BC2D-AADF-97B4-099AD72AA9F1}"/>
          </ac:picMkLst>
        </pc:picChg>
      </pc:sldChg>
      <pc:sldChg chg="modSp">
        <pc:chgData name="Cecilie Rolstad Denby" userId="S::cecilero@uio.no::3da6dd35-3bc2-447b-90f9-84bc16b34c1f" providerId="AD" clId="Web-{FA4EFBB6-6EA1-EC77-821E-8DE053905682}" dt="2022-04-21T11:53:43.357" v="1" actId="20577"/>
        <pc:sldMkLst>
          <pc:docMk/>
          <pc:sldMk cId="925823882" sldId="275"/>
        </pc:sldMkLst>
        <pc:spChg chg="mod">
          <ac:chgData name="Cecilie Rolstad Denby" userId="S::cecilero@uio.no::3da6dd35-3bc2-447b-90f9-84bc16b34c1f" providerId="AD" clId="Web-{FA4EFBB6-6EA1-EC77-821E-8DE053905682}" dt="2022-04-21T11:53:43.357" v="1" actId="20577"/>
          <ac:spMkLst>
            <pc:docMk/>
            <pc:sldMk cId="925823882" sldId="275"/>
            <ac:spMk id="7" creationId="{12B20456-A43B-433F-29CF-FBA5E5AF0E87}"/>
          </ac:spMkLst>
        </pc:spChg>
      </pc:sldChg>
      <pc:sldChg chg="addSp delSp modSp new">
        <pc:chgData name="Cecilie Rolstad Denby" userId="S::cecilero@uio.no::3da6dd35-3bc2-447b-90f9-84bc16b34c1f" providerId="AD" clId="Web-{FA4EFBB6-6EA1-EC77-821E-8DE053905682}" dt="2022-04-21T12:01:38.448" v="120" actId="20577"/>
        <pc:sldMkLst>
          <pc:docMk/>
          <pc:sldMk cId="613732537" sldId="283"/>
        </pc:sldMkLst>
        <pc:spChg chg="del">
          <ac:chgData name="Cecilie Rolstad Denby" userId="S::cecilero@uio.no::3da6dd35-3bc2-447b-90f9-84bc16b34c1f" providerId="AD" clId="Web-{FA4EFBB6-6EA1-EC77-821E-8DE053905682}" dt="2022-04-21T11:56:27.392" v="4"/>
          <ac:spMkLst>
            <pc:docMk/>
            <pc:sldMk cId="613732537" sldId="283"/>
            <ac:spMk id="2" creationId="{A7DF0D63-683C-A4EC-549E-F5F05E20E753}"/>
          </ac:spMkLst>
        </pc:spChg>
        <pc:spChg chg="mod">
          <ac:chgData name="Cecilie Rolstad Denby" userId="S::cecilero@uio.no::3da6dd35-3bc2-447b-90f9-84bc16b34c1f" providerId="AD" clId="Web-{FA4EFBB6-6EA1-EC77-821E-8DE053905682}" dt="2022-04-21T11:56:58.456" v="32" actId="20577"/>
          <ac:spMkLst>
            <pc:docMk/>
            <pc:sldMk cId="613732537" sldId="283"/>
            <ac:spMk id="5" creationId="{FAF1DD03-30DA-CBBE-F77C-B269A2C4D64C}"/>
          </ac:spMkLst>
        </pc:spChg>
        <pc:spChg chg="add mod">
          <ac:chgData name="Cecilie Rolstad Denby" userId="S::cecilero@uio.no::3da6dd35-3bc2-447b-90f9-84bc16b34c1f" providerId="AD" clId="Web-{FA4EFBB6-6EA1-EC77-821E-8DE053905682}" dt="2022-04-21T12:00:50.431" v="113" actId="20577"/>
          <ac:spMkLst>
            <pc:docMk/>
            <pc:sldMk cId="613732537" sldId="283"/>
            <ac:spMk id="7" creationId="{8E2D3D1F-D6AD-6483-5E98-04871932893A}"/>
          </ac:spMkLst>
        </pc:spChg>
        <pc:spChg chg="add mod">
          <ac:chgData name="Cecilie Rolstad Denby" userId="S::cecilero@uio.no::3da6dd35-3bc2-447b-90f9-84bc16b34c1f" providerId="AD" clId="Web-{FA4EFBB6-6EA1-EC77-821E-8DE053905682}" dt="2022-04-21T12:01:38.448" v="120" actId="20577"/>
          <ac:spMkLst>
            <pc:docMk/>
            <pc:sldMk cId="613732537" sldId="283"/>
            <ac:spMk id="9" creationId="{75C91CD2-AABB-F880-838F-8990A10C361E}"/>
          </ac:spMkLst>
        </pc:spChg>
        <pc:picChg chg="add mod ord">
          <ac:chgData name="Cecilie Rolstad Denby" userId="S::cecilero@uio.no::3da6dd35-3bc2-447b-90f9-84bc16b34c1f" providerId="AD" clId="Web-{FA4EFBB6-6EA1-EC77-821E-8DE053905682}" dt="2022-04-21T11:57:01.487" v="33" actId="1076"/>
          <ac:picMkLst>
            <pc:docMk/>
            <pc:sldMk cId="613732537" sldId="283"/>
            <ac:picMk id="6" creationId="{E607A175-742A-C3C3-9F27-9F5E6F23DADF}"/>
          </ac:picMkLst>
        </pc:picChg>
        <pc:picChg chg="add mod">
          <ac:chgData name="Cecilie Rolstad Denby" userId="S::cecilero@uio.no::3da6dd35-3bc2-447b-90f9-84bc16b34c1f" providerId="AD" clId="Web-{FA4EFBB6-6EA1-EC77-821E-8DE053905682}" dt="2022-04-21T12:01:18.354" v="117" actId="1076"/>
          <ac:picMkLst>
            <pc:docMk/>
            <pc:sldMk cId="613732537" sldId="283"/>
            <ac:picMk id="8" creationId="{6A8C5CDC-BC55-BB00-6A8E-DCCCCB8354C4}"/>
          </ac:picMkLst>
        </pc:picChg>
      </pc:sldChg>
    </pc:docChg>
  </pc:docChgLst>
  <pc:docChgLst>
    <pc:chgData name="Øivind Kure" userId="S::oivindku@uio.no::d357d66d-4d64-49a8-8304-e663f6de848a" providerId="AD" clId="Web-{CBFA48A2-5C7F-4CC7-8E08-82BCB246202E}"/>
    <pc:docChg chg="mod modSld">
      <pc:chgData name="Øivind Kure" userId="S::oivindku@uio.no::d357d66d-4d64-49a8-8304-e663f6de848a" providerId="AD" clId="Web-{CBFA48A2-5C7F-4CC7-8E08-82BCB246202E}" dt="2022-04-21T06:30:05.974" v="42" actId="20577"/>
      <pc:docMkLst>
        <pc:docMk/>
      </pc:docMkLst>
      <pc:sldChg chg="modSp">
        <pc:chgData name="Øivind Kure" userId="S::oivindku@uio.no::d357d66d-4d64-49a8-8304-e663f6de848a" providerId="AD" clId="Web-{CBFA48A2-5C7F-4CC7-8E08-82BCB246202E}" dt="2022-04-21T06:28:56.847" v="40" actId="20577"/>
        <pc:sldMkLst>
          <pc:docMk/>
          <pc:sldMk cId="3854075043" sldId="267"/>
        </pc:sldMkLst>
        <pc:spChg chg="mod">
          <ac:chgData name="Øivind Kure" userId="S::oivindku@uio.no::d357d66d-4d64-49a8-8304-e663f6de848a" providerId="AD" clId="Web-{CBFA48A2-5C7F-4CC7-8E08-82BCB246202E}" dt="2022-04-21T06:28:56.847" v="40" actId="20577"/>
          <ac:spMkLst>
            <pc:docMk/>
            <pc:sldMk cId="3854075043" sldId="267"/>
            <ac:spMk id="2" creationId="{00000000-0000-0000-0000-000000000000}"/>
          </ac:spMkLst>
        </pc:spChg>
      </pc:sldChg>
      <pc:sldChg chg="modSp">
        <pc:chgData name="Øivind Kure" userId="S::oivindku@uio.no::d357d66d-4d64-49a8-8304-e663f6de848a" providerId="AD" clId="Web-{CBFA48A2-5C7F-4CC7-8E08-82BCB246202E}" dt="2022-04-21T06:23:41.010" v="9" actId="20577"/>
        <pc:sldMkLst>
          <pc:docMk/>
          <pc:sldMk cId="3382128355" sldId="269"/>
        </pc:sldMkLst>
        <pc:spChg chg="mod">
          <ac:chgData name="Øivind Kure" userId="S::oivindku@uio.no::d357d66d-4d64-49a8-8304-e663f6de848a" providerId="AD" clId="Web-{CBFA48A2-5C7F-4CC7-8E08-82BCB246202E}" dt="2022-04-21T06:23:41.010" v="9" actId="20577"/>
          <ac:spMkLst>
            <pc:docMk/>
            <pc:sldMk cId="3382128355" sldId="269"/>
            <ac:spMk id="2" creationId="{00000000-0000-0000-0000-000000000000}"/>
          </ac:spMkLst>
        </pc:spChg>
      </pc:sldChg>
      <pc:sldChg chg="addCm">
        <pc:chgData name="Øivind Kure" userId="S::oivindku@uio.no::d357d66d-4d64-49a8-8304-e663f6de848a" providerId="AD" clId="Web-{CBFA48A2-5C7F-4CC7-8E08-82BCB246202E}" dt="2022-04-21T06:26:52.984" v="11"/>
        <pc:sldMkLst>
          <pc:docMk/>
          <pc:sldMk cId="3313112591" sldId="273"/>
        </pc:sldMkLst>
      </pc:sldChg>
      <pc:sldChg chg="modSp">
        <pc:chgData name="Øivind Kure" userId="S::oivindku@uio.no::d357d66d-4d64-49a8-8304-e663f6de848a" providerId="AD" clId="Web-{CBFA48A2-5C7F-4CC7-8E08-82BCB246202E}" dt="2022-04-21T06:30:05.974" v="42" actId="20577"/>
        <pc:sldMkLst>
          <pc:docMk/>
          <pc:sldMk cId="925823882" sldId="275"/>
        </pc:sldMkLst>
        <pc:spChg chg="mod">
          <ac:chgData name="Øivind Kure" userId="S::oivindku@uio.no::d357d66d-4d64-49a8-8304-e663f6de848a" providerId="AD" clId="Web-{CBFA48A2-5C7F-4CC7-8E08-82BCB246202E}" dt="2022-04-21T06:30:05.974" v="42" actId="20577"/>
          <ac:spMkLst>
            <pc:docMk/>
            <pc:sldMk cId="925823882" sldId="275"/>
            <ac:spMk id="7" creationId="{12B20456-A43B-433F-29CF-FBA5E5AF0E87}"/>
          </ac:spMkLst>
        </pc:spChg>
      </pc:sldChg>
      <pc:sldChg chg="addCm">
        <pc:chgData name="Øivind Kure" userId="S::oivindku@uio.no::d357d66d-4d64-49a8-8304-e663f6de848a" providerId="AD" clId="Web-{CBFA48A2-5C7F-4CC7-8E08-82BCB246202E}" dt="2022-04-21T06:29:49.661" v="41"/>
        <pc:sldMkLst>
          <pc:docMk/>
          <pc:sldMk cId="3532957086" sldId="276"/>
        </pc:sldMkLst>
      </pc:sldChg>
      <pc:sldChg chg="modSp">
        <pc:chgData name="Øivind Kure" userId="S::oivindku@uio.no::d357d66d-4d64-49a8-8304-e663f6de848a" providerId="AD" clId="Web-{CBFA48A2-5C7F-4CC7-8E08-82BCB246202E}" dt="2022-04-21T06:23:26.869" v="6" actId="14100"/>
        <pc:sldMkLst>
          <pc:docMk/>
          <pc:sldMk cId="2159161112" sldId="277"/>
        </pc:sldMkLst>
        <pc:spChg chg="mod">
          <ac:chgData name="Øivind Kure" userId="S::oivindku@uio.no::d357d66d-4d64-49a8-8304-e663f6de848a" providerId="AD" clId="Web-{CBFA48A2-5C7F-4CC7-8E08-82BCB246202E}" dt="2022-04-21T06:23:26.869" v="6" actId="14100"/>
          <ac:spMkLst>
            <pc:docMk/>
            <pc:sldMk cId="2159161112" sldId="277"/>
            <ac:spMk id="7" creationId="{5367C0E4-0506-6030-3FC6-F8718BF4C049}"/>
          </ac:spMkLst>
        </pc:spChg>
        <pc:picChg chg="mod">
          <ac:chgData name="Øivind Kure" userId="S::oivindku@uio.no::d357d66d-4d64-49a8-8304-e663f6de848a" providerId="AD" clId="Web-{CBFA48A2-5C7F-4CC7-8E08-82BCB246202E}" dt="2022-04-21T06:23:16.494" v="5" actId="1076"/>
          <ac:picMkLst>
            <pc:docMk/>
            <pc:sldMk cId="2159161112" sldId="277"/>
            <ac:picMk id="8" creationId="{0670FDB6-7C6B-7CB4-490A-AB3D4F4BF8C5}"/>
          </ac:picMkLst>
        </pc:picChg>
      </pc:sldChg>
    </pc:docChg>
  </pc:docChgLst>
  <pc:docChgLst>
    <pc:chgData name="Øivind Kure" userId="S::oivindku@uio.no::d357d66d-4d64-49a8-8304-e663f6de848a" providerId="AD" clId="Web-{28BEBD7B-D962-F4BD-F3DC-6F56A88C04C0}"/>
    <pc:docChg chg="modSld">
      <pc:chgData name="Øivind Kure" userId="S::oivindku@uio.no::d357d66d-4d64-49a8-8304-e663f6de848a" providerId="AD" clId="Web-{28BEBD7B-D962-F4BD-F3DC-6F56A88C04C0}" dt="2022-04-19T08:47:43.560" v="706" actId="20577"/>
      <pc:docMkLst>
        <pc:docMk/>
      </pc:docMkLst>
      <pc:sldChg chg="modSp">
        <pc:chgData name="Øivind Kure" userId="S::oivindku@uio.no::d357d66d-4d64-49a8-8304-e663f6de848a" providerId="AD" clId="Web-{28BEBD7B-D962-F4BD-F3DC-6F56A88C04C0}" dt="2022-04-19T08:47:43.560" v="706" actId="20577"/>
        <pc:sldMkLst>
          <pc:docMk/>
          <pc:sldMk cId="3854075043" sldId="267"/>
        </pc:sldMkLst>
        <pc:spChg chg="mod">
          <ac:chgData name="Øivind Kure" userId="S::oivindku@uio.no::d357d66d-4d64-49a8-8304-e663f6de848a" providerId="AD" clId="Web-{28BEBD7B-D962-F4BD-F3DC-6F56A88C04C0}" dt="2022-04-19T08:47:43.560" v="706" actId="20577"/>
          <ac:spMkLst>
            <pc:docMk/>
            <pc:sldMk cId="3854075043" sldId="267"/>
            <ac:spMk id="2" creationId="{00000000-0000-0000-0000-000000000000}"/>
          </ac:spMkLst>
        </pc:spChg>
      </pc:sldChg>
      <pc:sldChg chg="modSp">
        <pc:chgData name="Øivind Kure" userId="S::oivindku@uio.no::d357d66d-4d64-49a8-8304-e663f6de848a" providerId="AD" clId="Web-{28BEBD7B-D962-F4BD-F3DC-6F56A88C04C0}" dt="2022-04-19T08:33:03.754" v="90" actId="20577"/>
        <pc:sldMkLst>
          <pc:docMk/>
          <pc:sldMk cId="3171029722" sldId="268"/>
        </pc:sldMkLst>
        <pc:spChg chg="mod">
          <ac:chgData name="Øivind Kure" userId="S::oivindku@uio.no::d357d66d-4d64-49a8-8304-e663f6de848a" providerId="AD" clId="Web-{28BEBD7B-D962-F4BD-F3DC-6F56A88C04C0}" dt="2022-04-19T08:33:03.754" v="90" actId="20577"/>
          <ac:spMkLst>
            <pc:docMk/>
            <pc:sldMk cId="3171029722" sldId="268"/>
            <ac:spMk id="2" creationId="{00000000-0000-0000-0000-000000000000}"/>
          </ac:spMkLst>
        </pc:spChg>
      </pc:sldChg>
      <pc:sldChg chg="modSp">
        <pc:chgData name="Øivind Kure" userId="S::oivindku@uio.no::d357d66d-4d64-49a8-8304-e663f6de848a" providerId="AD" clId="Web-{28BEBD7B-D962-F4BD-F3DC-6F56A88C04C0}" dt="2022-04-19T08:46:56.793" v="701" actId="20577"/>
        <pc:sldMkLst>
          <pc:docMk/>
          <pc:sldMk cId="3382128355" sldId="269"/>
        </pc:sldMkLst>
        <pc:spChg chg="mod">
          <ac:chgData name="Øivind Kure" userId="S::oivindku@uio.no::d357d66d-4d64-49a8-8304-e663f6de848a" providerId="AD" clId="Web-{28BEBD7B-D962-F4BD-F3DC-6F56A88C04C0}" dt="2022-04-19T08:46:56.793" v="701" actId="20577"/>
          <ac:spMkLst>
            <pc:docMk/>
            <pc:sldMk cId="3382128355" sldId="269"/>
            <ac:spMk id="2" creationId="{00000000-0000-0000-0000-000000000000}"/>
          </ac:spMkLst>
        </pc:spChg>
      </pc:sldChg>
    </pc:docChg>
  </pc:docChgLst>
  <pc:docChgLst>
    <pc:chgData name="Sabrina Sartori" userId="S::sabrinsa@uio.no::55f3c0dc-1df7-4e48-a4a1-8788f0e3b786" providerId="AD" clId="Web-{A929BAAE-26B9-9F83-1803-42F94316B931}"/>
    <pc:docChg chg="mod modSld">
      <pc:chgData name="Sabrina Sartori" userId="S::sabrinsa@uio.no::55f3c0dc-1df7-4e48-a4a1-8788f0e3b786" providerId="AD" clId="Web-{A929BAAE-26B9-9F83-1803-42F94316B931}" dt="2022-04-21T14:25:12.006" v="320" actId="20577"/>
      <pc:docMkLst>
        <pc:docMk/>
      </pc:docMkLst>
      <pc:sldChg chg="modSp">
        <pc:chgData name="Sabrina Sartori" userId="S::sabrinsa@uio.no::55f3c0dc-1df7-4e48-a4a1-8788f0e3b786" providerId="AD" clId="Web-{A929BAAE-26B9-9F83-1803-42F94316B931}" dt="2022-04-21T14:24:14.192" v="316" actId="20577"/>
        <pc:sldMkLst>
          <pc:docMk/>
          <pc:sldMk cId="3382128355" sldId="269"/>
        </pc:sldMkLst>
        <pc:spChg chg="mod">
          <ac:chgData name="Sabrina Sartori" userId="S::sabrinsa@uio.no::55f3c0dc-1df7-4e48-a4a1-8788f0e3b786" providerId="AD" clId="Web-{A929BAAE-26B9-9F83-1803-42F94316B931}" dt="2022-04-21T14:24:14.192" v="316" actId="20577"/>
          <ac:spMkLst>
            <pc:docMk/>
            <pc:sldMk cId="3382128355" sldId="269"/>
            <ac:spMk id="2" creationId="{00000000-0000-0000-0000-000000000000}"/>
          </ac:spMkLst>
        </pc:spChg>
      </pc:sldChg>
      <pc:sldChg chg="modSp">
        <pc:chgData name="Sabrina Sartori" userId="S::sabrinsa@uio.no::55f3c0dc-1df7-4e48-a4a1-8788f0e3b786" providerId="AD" clId="Web-{A929BAAE-26B9-9F83-1803-42F94316B931}" dt="2022-04-21T14:25:12.006" v="320" actId="20577"/>
        <pc:sldMkLst>
          <pc:docMk/>
          <pc:sldMk cId="925823882" sldId="275"/>
        </pc:sldMkLst>
        <pc:spChg chg="mod">
          <ac:chgData name="Sabrina Sartori" userId="S::sabrinsa@uio.no::55f3c0dc-1df7-4e48-a4a1-8788f0e3b786" providerId="AD" clId="Web-{A929BAAE-26B9-9F83-1803-42F94316B931}" dt="2022-04-21T14:25:12.006" v="320" actId="20577"/>
          <ac:spMkLst>
            <pc:docMk/>
            <pc:sldMk cId="925823882" sldId="275"/>
            <ac:spMk id="7" creationId="{12B20456-A43B-433F-29CF-FBA5E5AF0E87}"/>
          </ac:spMkLst>
        </pc:spChg>
      </pc:sldChg>
      <pc:sldChg chg="modCm">
        <pc:chgData name="Sabrina Sartori" userId="S::sabrinsa@uio.no::55f3c0dc-1df7-4e48-a4a1-8788f0e3b786" providerId="AD" clId="Web-{A929BAAE-26B9-9F83-1803-42F94316B931}" dt="2022-04-21T14:02:35.974" v="4"/>
        <pc:sldMkLst>
          <pc:docMk/>
          <pc:sldMk cId="60188408" sldId="281"/>
        </pc:sldMkLst>
      </pc:sldChg>
      <pc:sldChg chg="delSp modSp">
        <pc:chgData name="Sabrina Sartori" userId="S::sabrinsa@uio.no::55f3c0dc-1df7-4e48-a4a1-8788f0e3b786" providerId="AD" clId="Web-{A929BAAE-26B9-9F83-1803-42F94316B931}" dt="2022-04-21T13:34:47.943" v="3"/>
        <pc:sldMkLst>
          <pc:docMk/>
          <pc:sldMk cId="1684454417" sldId="286"/>
        </pc:sldMkLst>
        <pc:spChg chg="del mod">
          <ac:chgData name="Sabrina Sartori" userId="S::sabrinsa@uio.no::55f3c0dc-1df7-4e48-a4a1-8788f0e3b786" providerId="AD" clId="Web-{A929BAAE-26B9-9F83-1803-42F94316B931}" dt="2022-04-21T13:34:47.943" v="3"/>
          <ac:spMkLst>
            <pc:docMk/>
            <pc:sldMk cId="1684454417" sldId="286"/>
            <ac:spMk id="7" creationId="{ECA7CF7A-65D5-B1A8-AF48-F75741CEC5BC}"/>
          </ac:spMkLst>
        </pc:spChg>
      </pc:sldChg>
    </pc:docChg>
  </pc:docChgLst>
  <pc:docChgLst>
    <pc:chgData name="Susanne Skrimstad" userId="S::saskrims@uio.no::2cbd3835-08ee-4540-bccf-ea07d070e4e5" providerId="AD" clId="Web-{76B8E61E-78BE-4679-8768-36433E8265B9}"/>
    <pc:docChg chg="modSld">
      <pc:chgData name="Susanne Skrimstad" userId="S::saskrims@uio.no::2cbd3835-08ee-4540-bccf-ea07d070e4e5" providerId="AD" clId="Web-{76B8E61E-78BE-4679-8768-36433E8265B9}" dt="2022-04-19T11:58:55.215" v="1" actId="20577"/>
      <pc:docMkLst>
        <pc:docMk/>
      </pc:docMkLst>
      <pc:sldChg chg="modSp">
        <pc:chgData name="Susanne Skrimstad" userId="S::saskrims@uio.no::2cbd3835-08ee-4540-bccf-ea07d070e4e5" providerId="AD" clId="Web-{76B8E61E-78BE-4679-8768-36433E8265B9}" dt="2022-04-19T11:58:55.215" v="1" actId="20577"/>
        <pc:sldMkLst>
          <pc:docMk/>
          <pc:sldMk cId="3854075043" sldId="267"/>
        </pc:sldMkLst>
        <pc:spChg chg="mod">
          <ac:chgData name="Susanne Skrimstad" userId="S::saskrims@uio.no::2cbd3835-08ee-4540-bccf-ea07d070e4e5" providerId="AD" clId="Web-{76B8E61E-78BE-4679-8768-36433E8265B9}" dt="2022-04-19T11:58:55.215" v="1" actId="20577"/>
          <ac:spMkLst>
            <pc:docMk/>
            <pc:sldMk cId="3854075043" sldId="267"/>
            <ac:spMk id="2" creationId="{00000000-0000-0000-0000-000000000000}"/>
          </ac:spMkLst>
        </pc:spChg>
      </pc:sldChg>
    </pc:docChg>
  </pc:docChgLst>
  <pc:docChgLst>
    <pc:chgData name="Ida Elisabeth Rydning" userId="S::idaery@uio.no::5e9fe4f1-9c3e-41c3-85f7-20c30e6fa891" providerId="AD" clId="Web-{16F95528-5D47-4F98-8171-A0158BA87F98}"/>
    <pc:docChg chg="modSld">
      <pc:chgData name="Ida Elisabeth Rydning" userId="S::idaery@uio.no::5e9fe4f1-9c3e-41c3-85f7-20c30e6fa891" providerId="AD" clId="Web-{16F95528-5D47-4F98-8171-A0158BA87F98}" dt="2022-04-25T06:49:11.508" v="264" actId="20577"/>
      <pc:docMkLst>
        <pc:docMk/>
      </pc:docMkLst>
      <pc:sldChg chg="modSp">
        <pc:chgData name="Ida Elisabeth Rydning" userId="S::idaery@uio.no::5e9fe4f1-9c3e-41c3-85f7-20c30e6fa891" providerId="AD" clId="Web-{16F95528-5D47-4F98-8171-A0158BA87F98}" dt="2022-04-25T06:49:11.508" v="264" actId="20577"/>
        <pc:sldMkLst>
          <pc:docMk/>
          <pc:sldMk cId="1082874148" sldId="270"/>
        </pc:sldMkLst>
        <pc:spChg chg="mod">
          <ac:chgData name="Ida Elisabeth Rydning" userId="S::idaery@uio.no::5e9fe4f1-9c3e-41c3-85f7-20c30e6fa891" providerId="AD" clId="Web-{16F95528-5D47-4F98-8171-A0158BA87F98}" dt="2022-04-25T06:49:11.508" v="264" actId="20577"/>
          <ac:spMkLst>
            <pc:docMk/>
            <pc:sldMk cId="1082874148" sldId="270"/>
            <ac:spMk id="2" creationId="{00000000-0000-0000-0000-000000000000}"/>
          </ac:spMkLst>
        </pc:spChg>
      </pc:sldChg>
    </pc:docChg>
  </pc:docChgLst>
  <pc:docChgLst>
    <pc:chgData name="Susanne Skrimstad" userId="S::saskrims@uio.no::2cbd3835-08ee-4540-bccf-ea07d070e4e5" providerId="AD" clId="Web-{4A12B1B7-51CC-4B71-B61A-1488EC4831D8}"/>
    <pc:docChg chg="modSld">
      <pc:chgData name="Susanne Skrimstad" userId="S::saskrims@uio.no::2cbd3835-08ee-4540-bccf-ea07d070e4e5" providerId="AD" clId="Web-{4A12B1B7-51CC-4B71-B61A-1488EC4831D8}" dt="2022-04-25T08:08:59.028" v="3" actId="1076"/>
      <pc:docMkLst>
        <pc:docMk/>
      </pc:docMkLst>
      <pc:sldChg chg="modSp">
        <pc:chgData name="Susanne Skrimstad" userId="S::saskrims@uio.no::2cbd3835-08ee-4540-bccf-ea07d070e4e5" providerId="AD" clId="Web-{4A12B1B7-51CC-4B71-B61A-1488EC4831D8}" dt="2022-04-25T08:08:59.028" v="3" actId="1076"/>
        <pc:sldMkLst>
          <pc:docMk/>
          <pc:sldMk cId="2398878348" sldId="263"/>
        </pc:sldMkLst>
        <pc:spChg chg="mod">
          <ac:chgData name="Susanne Skrimstad" userId="S::saskrims@uio.no::2cbd3835-08ee-4540-bccf-ea07d070e4e5" providerId="AD" clId="Web-{4A12B1B7-51CC-4B71-B61A-1488EC4831D8}" dt="2022-04-25T07:45:11.784" v="2" actId="20577"/>
          <ac:spMkLst>
            <pc:docMk/>
            <pc:sldMk cId="2398878348" sldId="263"/>
            <ac:spMk id="5" creationId="{CD1A76D9-D766-4615-886E-F99D7D3D09D5}"/>
          </ac:spMkLst>
        </pc:spChg>
        <pc:picChg chg="mod">
          <ac:chgData name="Susanne Skrimstad" userId="S::saskrims@uio.no::2cbd3835-08ee-4540-bccf-ea07d070e4e5" providerId="AD" clId="Web-{4A12B1B7-51CC-4B71-B61A-1488EC4831D8}" dt="2022-04-25T08:08:59.028" v="3" actId="1076"/>
          <ac:picMkLst>
            <pc:docMk/>
            <pc:sldMk cId="2398878348" sldId="263"/>
            <ac:picMk id="6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4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4500" smtClean="0"/>
              <a:t>Det matematisk-naturvitenskapelige fakultet</a:t>
            </a:r>
            <a:endParaRPr lang="nb-NO" sz="450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 smtClean="0"/>
              <a:t>STUA 2022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16980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>
          <a:xfrm>
            <a:off x="438874" y="1082726"/>
            <a:ext cx="11471910" cy="4817312"/>
          </a:xfrm>
        </p:spPr>
        <p:txBody>
          <a:bodyPr/>
          <a:lstStyle/>
          <a:p>
            <a:endParaRPr lang="nb-NO" dirty="0" smtClean="0"/>
          </a:p>
          <a:p>
            <a:r>
              <a:rPr lang="nb-NO" dirty="0" smtClean="0"/>
              <a:t>                    </a:t>
            </a:r>
            <a:r>
              <a:rPr lang="nb-NO" sz="2000" dirty="0" err="1" smtClean="0"/>
              <a:t>Onboarding</a:t>
            </a:r>
            <a:r>
              <a:rPr lang="nb-NO" sz="2000" dirty="0" smtClean="0"/>
              <a:t> (</a:t>
            </a:r>
            <a:r>
              <a:rPr lang="nb-NO" sz="2000" dirty="0" err="1" smtClean="0"/>
              <a:t>Pavla</a:t>
            </a:r>
            <a:r>
              <a:rPr lang="nb-NO" sz="2000" dirty="0" smtClean="0"/>
              <a:t>)				     Kunnskaps- og erfaringsdeling (Kristin)</a:t>
            </a:r>
          </a:p>
          <a:p>
            <a:endParaRPr lang="nb-NO" sz="2000" dirty="0"/>
          </a:p>
          <a:p>
            <a:endParaRPr lang="nb-NO" sz="2000" dirty="0" smtClean="0"/>
          </a:p>
          <a:p>
            <a:r>
              <a:rPr lang="nb-NO" sz="2000" dirty="0"/>
              <a:t>	</a:t>
            </a:r>
            <a:r>
              <a:rPr lang="nb-NO" sz="2000" dirty="0" smtClean="0"/>
              <a:t>	  Kommunikasjon (Linda)			     	</a:t>
            </a:r>
          </a:p>
          <a:p>
            <a:r>
              <a:rPr lang="nb-NO" sz="2000" dirty="0" smtClean="0"/>
              <a:t>								      Studiestart (Ida)</a:t>
            </a:r>
            <a:endParaRPr lang="nb-NO" sz="2000" dirty="0"/>
          </a:p>
          <a:p>
            <a:endParaRPr lang="nb-NO" sz="2000" dirty="0" smtClean="0"/>
          </a:p>
          <a:p>
            <a:r>
              <a:rPr lang="nb-NO" sz="2000" dirty="0"/>
              <a:t>	</a:t>
            </a:r>
            <a:r>
              <a:rPr lang="nb-NO" sz="2000" dirty="0" smtClean="0"/>
              <a:t>	  Frafall (Kaja)</a:t>
            </a:r>
          </a:p>
          <a:p>
            <a:r>
              <a:rPr lang="nb-NO" sz="2000" dirty="0"/>
              <a:t>	</a:t>
            </a:r>
            <a:r>
              <a:rPr lang="nb-NO" sz="2000" dirty="0" smtClean="0"/>
              <a:t>							      Hybridmøter – </a:t>
            </a:r>
            <a:r>
              <a:rPr lang="nb-NO" sz="2000" dirty="0" err="1" smtClean="0"/>
              <a:t>walk</a:t>
            </a:r>
            <a:r>
              <a:rPr lang="nb-NO" sz="2000" dirty="0" smtClean="0"/>
              <a:t> and talk (Nina)</a:t>
            </a:r>
            <a:endParaRPr lang="nb-NO" sz="2000" dirty="0"/>
          </a:p>
          <a:p>
            <a:endParaRPr lang="nb-NO" sz="2000" dirty="0" smtClean="0"/>
          </a:p>
          <a:p>
            <a:r>
              <a:rPr lang="nb-NO" sz="2000" dirty="0"/>
              <a:t>	</a:t>
            </a:r>
            <a:r>
              <a:rPr lang="nb-NO" sz="2000" dirty="0" smtClean="0"/>
              <a:t>	  Studentperspektivet (Pål)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afeborddialog</a:t>
            </a:r>
            <a:endParaRPr lang="nb-NO" dirty="0"/>
          </a:p>
        </p:txBody>
      </p:sp>
      <p:sp>
        <p:nvSpPr>
          <p:cNvPr id="6" name="Heart 5"/>
          <p:cNvSpPr/>
          <p:nvPr/>
        </p:nvSpPr>
        <p:spPr>
          <a:xfrm>
            <a:off x="360044" y="1082726"/>
            <a:ext cx="864309" cy="887964"/>
          </a:xfrm>
          <a:prstGeom prst="hear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C000"/>
              </a:solidFill>
            </a:endParaRPr>
          </a:p>
        </p:txBody>
      </p:sp>
      <p:sp>
        <p:nvSpPr>
          <p:cNvPr id="8" name="Heart 7"/>
          <p:cNvSpPr/>
          <p:nvPr/>
        </p:nvSpPr>
        <p:spPr>
          <a:xfrm>
            <a:off x="360042" y="2459773"/>
            <a:ext cx="864309" cy="887964"/>
          </a:xfrm>
          <a:prstGeom prst="heart">
            <a:avLst/>
          </a:prstGeom>
          <a:solidFill>
            <a:srgbClr val="F40AB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Heart 8"/>
          <p:cNvSpPr/>
          <p:nvPr/>
        </p:nvSpPr>
        <p:spPr>
          <a:xfrm>
            <a:off x="360043" y="3836820"/>
            <a:ext cx="864309" cy="887964"/>
          </a:xfrm>
          <a:prstGeom prst="hear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Heart 9"/>
          <p:cNvSpPr/>
          <p:nvPr/>
        </p:nvSpPr>
        <p:spPr>
          <a:xfrm>
            <a:off x="360042" y="5155719"/>
            <a:ext cx="864309" cy="887964"/>
          </a:xfrm>
          <a:prstGeom prst="hear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Heart 10"/>
          <p:cNvSpPr/>
          <p:nvPr/>
        </p:nvSpPr>
        <p:spPr>
          <a:xfrm>
            <a:off x="6095999" y="4353619"/>
            <a:ext cx="864309" cy="887964"/>
          </a:xfrm>
          <a:prstGeom prst="heart">
            <a:avLst/>
          </a:prstGeom>
          <a:solidFill>
            <a:schemeClr val="accent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Heart 11"/>
          <p:cNvSpPr/>
          <p:nvPr/>
        </p:nvSpPr>
        <p:spPr>
          <a:xfrm>
            <a:off x="6095999" y="2807201"/>
            <a:ext cx="864309" cy="887964"/>
          </a:xfrm>
          <a:prstGeom prst="hear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Heart 12"/>
          <p:cNvSpPr/>
          <p:nvPr/>
        </p:nvSpPr>
        <p:spPr>
          <a:xfrm>
            <a:off x="5904804" y="1090618"/>
            <a:ext cx="702180" cy="667246"/>
          </a:xfrm>
          <a:prstGeom prst="heart">
            <a:avLst/>
          </a:prstGeom>
          <a:solidFill>
            <a:srgbClr val="D78BB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Heart 14"/>
          <p:cNvSpPr/>
          <p:nvPr/>
        </p:nvSpPr>
        <p:spPr>
          <a:xfrm>
            <a:off x="6174829" y="1397346"/>
            <a:ext cx="566327" cy="507733"/>
          </a:xfrm>
          <a:prstGeom prst="heart">
            <a:avLst/>
          </a:prstGeom>
          <a:solidFill>
            <a:srgbClr val="D78BB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59072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EF1AA1B9-BC1F-45E4-9908-70FA5603ED5D}" vid="{0B1EB24D-9A29-4936-B027-FCD997E1BD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099E2CFC602741A21F066F4E798556" ma:contentTypeVersion="10" ma:contentTypeDescription="Opprett et nytt dokument." ma:contentTypeScope="" ma:versionID="9d86fba750d3caf148d6e97b1c22d6a1">
  <xsd:schema xmlns:xsd="http://www.w3.org/2001/XMLSchema" xmlns:xs="http://www.w3.org/2001/XMLSchema" xmlns:p="http://schemas.microsoft.com/office/2006/metadata/properties" xmlns:ns2="20eb2418-7f65-4638-b898-2f15a273cbee" xmlns:ns3="ec90a0bd-7fde-4f39-9270-e1a2f32bf6da" targetNamespace="http://schemas.microsoft.com/office/2006/metadata/properties" ma:root="true" ma:fieldsID="113282828a364df4ccaa7aa777c8fae9" ns2:_="" ns3:_="">
    <xsd:import namespace="20eb2418-7f65-4638-b898-2f15a273cbee"/>
    <xsd:import namespace="ec90a0bd-7fde-4f39-9270-e1a2f32bf6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eb2418-7f65-4638-b898-2f15a273cb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90a0bd-7fde-4f39-9270-e1a2f32bf6d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35E3C5-410A-415A-A41D-74780AABF874}">
  <ds:schemaRefs>
    <ds:schemaRef ds:uri="20eb2418-7f65-4638-b898-2f15a273cbee"/>
    <ds:schemaRef ds:uri="ec90a0bd-7fde-4f39-9270-e1a2f32bf6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ec90a0bd-7fde-4f39-9270-e1a2f32bf6da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0eb2418-7f65-4638-b898-2f15a273cbee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295</TotalTime>
  <Words>80</Words>
  <Application>Microsoft Office PowerPoint</Application>
  <PresentationFormat>Widescreen</PresentationFormat>
  <Paragraphs>1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, sans-serif</vt:lpstr>
      <vt:lpstr>Calibri</vt:lpstr>
      <vt:lpstr>Wingdings</vt:lpstr>
      <vt:lpstr>Office-tema</vt:lpstr>
      <vt:lpstr>think-cell Slide</vt:lpstr>
      <vt:lpstr>Det matematisk-naturvitenskapelige fakultet</vt:lpstr>
      <vt:lpstr>Kafeborddialog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logmøte om studiekvalitet</dc:title>
  <dc:creator>Ina Hodnebrug</dc:creator>
  <cp:lastModifiedBy>Kaja Mosserud-Haavardsholm</cp:lastModifiedBy>
  <cp:revision>5</cp:revision>
  <dcterms:created xsi:type="dcterms:W3CDTF">2022-04-05T14:16:10Z</dcterms:created>
  <dcterms:modified xsi:type="dcterms:W3CDTF">2022-05-02T09:3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099E2CFC602741A21F066F4E798556</vt:lpwstr>
  </property>
  <property fmtid="{D5CDD505-2E9C-101B-9397-08002B2CF9AE}" pid="3" name="_dlc_DocIdItemGuid">
    <vt:lpwstr>e1ba8df5-1c55-4d83-8486-5b6b738896d5</vt:lpwstr>
  </property>
</Properties>
</file>